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notesSlides/notesSlide1.xml" ContentType="application/vnd.openxmlformats-officedocument.presentationml.notesSlide+xml"/>
  <Override PartName="/ppt/tags/tag96.xml" ContentType="application/vnd.openxmlformats-officedocument.presentationml.tags+xml"/>
  <Override PartName="/ppt/tags/tag97.xml" ContentType="application/vnd.openxmlformats-officedocument.presentationml.tags+xml"/>
  <Override PartName="/ppt/notesSlides/notesSlide2.xml" ContentType="application/vnd.openxmlformats-officedocument.presentationml.notesSlide+xml"/>
  <Override PartName="/ppt/tags/tag98.xml" ContentType="application/vnd.openxmlformats-officedocument.presentationml.tags+xml"/>
  <Override PartName="/ppt/tags/tag99.xml" ContentType="application/vnd.openxmlformats-officedocument.presentationml.tags+xml"/>
  <Override PartName="/ppt/notesSlides/notesSlide3.xml" ContentType="application/vnd.openxmlformats-officedocument.presentationml.notesSlide+xml"/>
  <Override PartName="/ppt/tags/tag100.xml" ContentType="application/vnd.openxmlformats-officedocument.presentationml.tags+xml"/>
  <Override PartName="/ppt/tags/tag101.xml" ContentType="application/vnd.openxmlformats-officedocument.presentationml.tags+xml"/>
  <Override PartName="/ppt/notesSlides/notesSlide4.xml" ContentType="application/vnd.openxmlformats-officedocument.presentationml.notesSlide+xml"/>
  <Override PartName="/ppt/tags/tag102.xml" ContentType="application/vnd.openxmlformats-officedocument.presentationml.tags+xml"/>
  <Override PartName="/ppt/tags/tag103.xml" ContentType="application/vnd.openxmlformats-officedocument.presentationml.tags+xml"/>
  <Override PartName="/ppt/notesSlides/notesSlide5.xml" ContentType="application/vnd.openxmlformats-officedocument.presentationml.notesSlide+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notesSlides/notesSlide6.xml" ContentType="application/vnd.openxmlformats-officedocument.presentationml.notesSlide+xml"/>
  <Override PartName="/ppt/tags/tag108.xml" ContentType="application/vnd.openxmlformats-officedocument.presentationml.tags+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Lst>
  <p:notesMasterIdLst>
    <p:notesMasterId r:id="rId20"/>
  </p:notesMasterIdLst>
  <p:handoutMasterIdLst>
    <p:handoutMasterId r:id="rId21"/>
  </p:handoutMasterIdLst>
  <p:sldIdLst>
    <p:sldId id="444" r:id="rId5"/>
    <p:sldId id="377" r:id="rId6"/>
    <p:sldId id="500" r:id="rId7"/>
    <p:sldId id="520" r:id="rId8"/>
    <p:sldId id="555" r:id="rId9"/>
    <p:sldId id="556" r:id="rId10"/>
    <p:sldId id="547" r:id="rId11"/>
    <p:sldId id="552" r:id="rId12"/>
    <p:sldId id="562" r:id="rId13"/>
    <p:sldId id="564" r:id="rId14"/>
    <p:sldId id="565" r:id="rId15"/>
    <p:sldId id="566" r:id="rId16"/>
    <p:sldId id="551" r:id="rId17"/>
    <p:sldId id="560" r:id="rId18"/>
    <p:sldId id="509" r:id="rId19"/>
  </p:sldIdLst>
  <p:sldSz cx="12192000" cy="6858000"/>
  <p:notesSz cx="6807200" cy="9939338"/>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A0CC32C-1D4D-6EA7-265C-60826E459EB3}" name="Le Ngoc Tien" initials="LT" userId="S::tien.le@vinhhoan.com::d6a6133f-53bd-4185-9e13-bb56bacba637" providerId="AD"/>
  <p188:author id="{1FB2A1CE-330A-71B5-60DA-78F3F69239E1}" name="Tung, Pham Thanh" initials="TT" userId="S::tung.pham@vinhhoan.com::ba352925-feea-4fc1-8376-bcfcc07fcaa4"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llan L" initials="AL" lastIdx="1" clrIdx="0">
    <p:extLst>
      <p:ext uri="{19B8F6BF-5375-455C-9EA6-DF929625EA0E}">
        <p15:presenceInfo xmlns:p15="http://schemas.microsoft.com/office/powerpoint/2012/main" userId="c22b3687075bd6bf" providerId="Windows Live"/>
      </p:ext>
    </p:extLst>
  </p:cmAuthor>
  <p:cmAuthor id="2" name="Tam Nguyen Ngo Vi" initials="TNNV" lastIdx="0" clrIdx="1">
    <p:extLst>
      <p:ext uri="{19B8F6BF-5375-455C-9EA6-DF929625EA0E}">
        <p15:presenceInfo xmlns:p15="http://schemas.microsoft.com/office/powerpoint/2012/main" userId="S-1-5-21-327524671-2090315578-382701650-12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27073"/>
    <a:srgbClr val="6F9CEB"/>
    <a:srgbClr val="41B6E6"/>
    <a:srgbClr val="0033A0"/>
    <a:srgbClr val="FFFFFF"/>
    <a:srgbClr val="DEEBF7"/>
    <a:srgbClr val="48BDD0"/>
    <a:srgbClr val="F09B15"/>
    <a:srgbClr val="9AD13F"/>
    <a:srgbClr val="BEC0C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3741" autoAdjust="0"/>
  </p:normalViewPr>
  <p:slideViewPr>
    <p:cSldViewPr snapToGrid="0">
      <p:cViewPr varScale="1">
        <p:scale>
          <a:sx n="63" d="100"/>
          <a:sy n="63" d="100"/>
        </p:scale>
        <p:origin x="708" y="68"/>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gs" Target="tags/tag1.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ien, Le Ngoc" userId="d6a6133f-53bd-4185-9e13-bb56bacba637" providerId="ADAL" clId="{571B6FF7-E88D-4F42-A504-2DD0B6AE721E}"/>
    <pc:docChg chg="modSld">
      <pc:chgData name="Tien, Le Ngoc" userId="d6a6133f-53bd-4185-9e13-bb56bacba637" providerId="ADAL" clId="{571B6FF7-E88D-4F42-A504-2DD0B6AE721E}" dt="2022-05-10T09:27:33.437" v="80" actId="20577"/>
      <pc:docMkLst>
        <pc:docMk/>
      </pc:docMkLst>
      <pc:sldChg chg="modSp">
        <pc:chgData name="Tien, Le Ngoc" userId="d6a6133f-53bd-4185-9e13-bb56bacba637" providerId="ADAL" clId="{571B6FF7-E88D-4F42-A504-2DD0B6AE721E}" dt="2022-05-10T09:26:24.584" v="55" actId="20577"/>
        <pc:sldMkLst>
          <pc:docMk/>
          <pc:sldMk cId="1585040284" sldId="555"/>
        </pc:sldMkLst>
        <pc:spChg chg="mod">
          <ac:chgData name="Tien, Le Ngoc" userId="d6a6133f-53bd-4185-9e13-bb56bacba637" providerId="ADAL" clId="{571B6FF7-E88D-4F42-A504-2DD0B6AE721E}" dt="2022-05-10T09:26:24.584" v="55" actId="20577"/>
          <ac:spMkLst>
            <pc:docMk/>
            <pc:sldMk cId="1585040284" sldId="555"/>
            <ac:spMk id="11" creationId="{D3754282-48E0-47FB-B37B-384FB7F75E72}"/>
          </ac:spMkLst>
        </pc:spChg>
      </pc:sldChg>
      <pc:sldChg chg="modSp">
        <pc:chgData name="Tien, Le Ngoc" userId="d6a6133f-53bd-4185-9e13-bb56bacba637" providerId="ADAL" clId="{571B6FF7-E88D-4F42-A504-2DD0B6AE721E}" dt="2022-05-10T09:27:33.437" v="80" actId="20577"/>
        <pc:sldMkLst>
          <pc:docMk/>
          <pc:sldMk cId="3041584205" sldId="556"/>
        </pc:sldMkLst>
        <pc:spChg chg="mod">
          <ac:chgData name="Tien, Le Ngoc" userId="d6a6133f-53bd-4185-9e13-bb56bacba637" providerId="ADAL" clId="{571B6FF7-E88D-4F42-A504-2DD0B6AE721E}" dt="2022-05-10T09:27:33.437" v="80" actId="20577"/>
          <ac:spMkLst>
            <pc:docMk/>
            <pc:sldMk cId="3041584205" sldId="556"/>
            <ac:spMk id="65" creationId="{FD88B804-860F-462E-B796-6E5D2D2FDA39}"/>
          </ac:spMkLst>
        </pc:spChg>
      </pc:sldChg>
    </pc:docChg>
  </pc:docChgLst>
  <pc:docChgLst>
    <pc:chgData name="Hoàng Thanh Tâm / VĨNH HOÀN / Chiến Lược" userId="94a8c68a-b754-4ef7-8609-838862aed947" providerId="ADAL" clId="{E4DEF16F-2E44-48F1-8EE7-0D3223475222}"/>
    <pc:docChg chg="undo custSel addSld delSld modSld sldOrd">
      <pc:chgData name="Hoàng Thanh Tâm / VĨNH HOÀN / Chiến Lược" userId="94a8c68a-b754-4ef7-8609-838862aed947" providerId="ADAL" clId="{E4DEF16F-2E44-48F1-8EE7-0D3223475222}" dt="2022-05-04T09:02:44.341" v="1395" actId="1076"/>
      <pc:docMkLst>
        <pc:docMk/>
      </pc:docMkLst>
      <pc:sldChg chg="modSp mod">
        <pc:chgData name="Hoàng Thanh Tâm / VĨNH HOÀN / Chiến Lược" userId="94a8c68a-b754-4ef7-8609-838862aed947" providerId="ADAL" clId="{E4DEF16F-2E44-48F1-8EE7-0D3223475222}" dt="2022-05-04T06:23:45.784" v="5" actId="20577"/>
        <pc:sldMkLst>
          <pc:docMk/>
          <pc:sldMk cId="1058643265" sldId="444"/>
        </pc:sldMkLst>
        <pc:spChg chg="mod">
          <ac:chgData name="Hoàng Thanh Tâm / VĨNH HOÀN / Chiến Lược" userId="94a8c68a-b754-4ef7-8609-838862aed947" providerId="ADAL" clId="{E4DEF16F-2E44-48F1-8EE7-0D3223475222}" dt="2022-05-04T06:23:45.784" v="5" actId="20577"/>
          <ac:spMkLst>
            <pc:docMk/>
            <pc:sldMk cId="1058643265" sldId="444"/>
            <ac:spMk id="5" creationId="{D3D6B094-8382-4D30-95DF-85DE76F13C97}"/>
          </ac:spMkLst>
        </pc:spChg>
      </pc:sldChg>
      <pc:sldChg chg="addSp delSp modSp mod">
        <pc:chgData name="Hoàng Thanh Tâm / VĨNH HOÀN / Chiến Lược" userId="94a8c68a-b754-4ef7-8609-838862aed947" providerId="ADAL" clId="{E4DEF16F-2E44-48F1-8EE7-0D3223475222}" dt="2022-05-04T07:47:03.887" v="1183" actId="14100"/>
        <pc:sldMkLst>
          <pc:docMk/>
          <pc:sldMk cId="3706297368" sldId="552"/>
        </pc:sldMkLst>
        <pc:spChg chg="mod">
          <ac:chgData name="Hoàng Thanh Tâm / VĨNH HOÀN / Chiến Lược" userId="94a8c68a-b754-4ef7-8609-838862aed947" providerId="ADAL" clId="{E4DEF16F-2E44-48F1-8EE7-0D3223475222}" dt="2022-05-04T07:32:01.163" v="782" actId="14100"/>
          <ac:spMkLst>
            <pc:docMk/>
            <pc:sldMk cId="3706297368" sldId="552"/>
            <ac:spMk id="10" creationId="{B77A828B-ADC2-4456-B519-DCB7FD02DA3A}"/>
          </ac:spMkLst>
        </pc:spChg>
        <pc:picChg chg="add mod">
          <ac:chgData name="Hoàng Thanh Tâm / VĨNH HOÀN / Chiến Lược" userId="94a8c68a-b754-4ef7-8609-838862aed947" providerId="ADAL" clId="{E4DEF16F-2E44-48F1-8EE7-0D3223475222}" dt="2022-05-04T07:47:03.887" v="1183" actId="14100"/>
          <ac:picMkLst>
            <pc:docMk/>
            <pc:sldMk cId="3706297368" sldId="552"/>
            <ac:picMk id="6" creationId="{BAB89963-80A2-8280-39F3-AEDFB7A92C03}"/>
          </ac:picMkLst>
        </pc:picChg>
        <pc:picChg chg="add mod">
          <ac:chgData name="Hoàng Thanh Tâm / VĨNH HOÀN / Chiến Lược" userId="94a8c68a-b754-4ef7-8609-838862aed947" providerId="ADAL" clId="{E4DEF16F-2E44-48F1-8EE7-0D3223475222}" dt="2022-05-04T07:47:03.887" v="1183" actId="14100"/>
          <ac:picMkLst>
            <pc:docMk/>
            <pc:sldMk cId="3706297368" sldId="552"/>
            <ac:picMk id="8" creationId="{8D497D28-11BE-BC78-79F9-7739165B36E2}"/>
          </ac:picMkLst>
        </pc:picChg>
        <pc:picChg chg="del">
          <ac:chgData name="Hoàng Thanh Tâm / VĨNH HOÀN / Chiến Lược" userId="94a8c68a-b754-4ef7-8609-838862aed947" providerId="ADAL" clId="{E4DEF16F-2E44-48F1-8EE7-0D3223475222}" dt="2022-05-04T07:27:54.061" v="665" actId="478"/>
          <ac:picMkLst>
            <pc:docMk/>
            <pc:sldMk cId="3706297368" sldId="552"/>
            <ac:picMk id="9" creationId="{62F81EF9-42FE-4E73-A739-641EEB781555}"/>
          </ac:picMkLst>
        </pc:picChg>
        <pc:cxnChg chg="mod">
          <ac:chgData name="Hoàng Thanh Tâm / VĨNH HOÀN / Chiến Lược" userId="94a8c68a-b754-4ef7-8609-838862aed947" providerId="ADAL" clId="{E4DEF16F-2E44-48F1-8EE7-0D3223475222}" dt="2022-05-04T07:29:27.219" v="701" actId="14100"/>
          <ac:cxnSpMkLst>
            <pc:docMk/>
            <pc:sldMk cId="3706297368" sldId="552"/>
            <ac:cxnSpMk id="15" creationId="{3C64531C-3C3E-4B0D-A4B7-789542CA5B25}"/>
          </ac:cxnSpMkLst>
        </pc:cxnChg>
        <pc:cxnChg chg="mod">
          <ac:chgData name="Hoàng Thanh Tâm / VĨNH HOÀN / Chiến Lược" userId="94a8c68a-b754-4ef7-8609-838862aed947" providerId="ADAL" clId="{E4DEF16F-2E44-48F1-8EE7-0D3223475222}" dt="2022-05-04T07:28:40.961" v="688" actId="14100"/>
          <ac:cxnSpMkLst>
            <pc:docMk/>
            <pc:sldMk cId="3706297368" sldId="552"/>
            <ac:cxnSpMk id="17" creationId="{AD68A175-D486-4F65-85F8-262746D32720}"/>
          </ac:cxnSpMkLst>
        </pc:cxnChg>
      </pc:sldChg>
      <pc:sldChg chg="modSp mod">
        <pc:chgData name="Hoàng Thanh Tâm / VĨNH HOÀN / Chiến Lược" userId="94a8c68a-b754-4ef7-8609-838862aed947" providerId="ADAL" clId="{E4DEF16F-2E44-48F1-8EE7-0D3223475222}" dt="2022-05-04T06:23:55.747" v="8" actId="20577"/>
        <pc:sldMkLst>
          <pc:docMk/>
          <pc:sldMk cId="1585040284" sldId="555"/>
        </pc:sldMkLst>
        <pc:spChg chg="mod">
          <ac:chgData name="Hoàng Thanh Tâm / VĨNH HOÀN / Chiến Lược" userId="94a8c68a-b754-4ef7-8609-838862aed947" providerId="ADAL" clId="{E4DEF16F-2E44-48F1-8EE7-0D3223475222}" dt="2022-05-04T06:23:55.747" v="8" actId="20577"/>
          <ac:spMkLst>
            <pc:docMk/>
            <pc:sldMk cId="1585040284" sldId="555"/>
            <ac:spMk id="8" creationId="{37844C08-8EB5-452A-88C6-707D460BA324}"/>
          </ac:spMkLst>
        </pc:spChg>
      </pc:sldChg>
      <pc:sldChg chg="modSp mod">
        <pc:chgData name="Hoàng Thanh Tâm / VĨNH HOÀN / Chiến Lược" userId="94a8c68a-b754-4ef7-8609-838862aed947" providerId="ADAL" clId="{E4DEF16F-2E44-48F1-8EE7-0D3223475222}" dt="2022-05-04T06:24:02.434" v="11" actId="20577"/>
        <pc:sldMkLst>
          <pc:docMk/>
          <pc:sldMk cId="3041584205" sldId="556"/>
        </pc:sldMkLst>
        <pc:spChg chg="mod">
          <ac:chgData name="Hoàng Thanh Tâm / VĨNH HOÀN / Chiến Lược" userId="94a8c68a-b754-4ef7-8609-838862aed947" providerId="ADAL" clId="{E4DEF16F-2E44-48F1-8EE7-0D3223475222}" dt="2022-05-04T06:24:02.434" v="11" actId="20577"/>
          <ac:spMkLst>
            <pc:docMk/>
            <pc:sldMk cId="3041584205" sldId="556"/>
            <ac:spMk id="5" creationId="{BD055CBC-AA8A-43AC-ADCA-6704FA335D2A}"/>
          </ac:spMkLst>
        </pc:spChg>
      </pc:sldChg>
      <pc:sldChg chg="addSp delSp modSp mod">
        <pc:chgData name="Hoàng Thanh Tâm / VĨNH HOÀN / Chiến Lược" userId="94a8c68a-b754-4ef7-8609-838862aed947" providerId="ADAL" clId="{E4DEF16F-2E44-48F1-8EE7-0D3223475222}" dt="2022-05-04T07:25:02.544" v="664" actId="14100"/>
        <pc:sldMkLst>
          <pc:docMk/>
          <pc:sldMk cId="1800509110" sldId="560"/>
        </pc:sldMkLst>
        <pc:spChg chg="mod">
          <ac:chgData name="Hoàng Thanh Tâm / VĨNH HOÀN / Chiến Lược" userId="94a8c68a-b754-4ef7-8609-838862aed947" providerId="ADAL" clId="{E4DEF16F-2E44-48F1-8EE7-0D3223475222}" dt="2022-05-04T07:23:05.614" v="591" actId="1035"/>
          <ac:spMkLst>
            <pc:docMk/>
            <pc:sldMk cId="1800509110" sldId="560"/>
            <ac:spMk id="5" creationId="{FBE6D7BF-B16E-46C7-82B0-9C1928835523}"/>
          </ac:spMkLst>
        </pc:spChg>
        <pc:spChg chg="add del">
          <ac:chgData name="Hoàng Thanh Tâm / VĨNH HOÀN / Chiến Lược" userId="94a8c68a-b754-4ef7-8609-838862aed947" providerId="ADAL" clId="{E4DEF16F-2E44-48F1-8EE7-0D3223475222}" dt="2022-05-04T07:09:58.414" v="53"/>
          <ac:spMkLst>
            <pc:docMk/>
            <pc:sldMk cId="1800509110" sldId="560"/>
            <ac:spMk id="6" creationId="{7670233A-30F6-0260-FAD0-7138F5D33865}"/>
          </ac:spMkLst>
        </pc:spChg>
        <pc:spChg chg="mod">
          <ac:chgData name="Hoàng Thanh Tâm / VĨNH HOÀN / Chiến Lược" userId="94a8c68a-b754-4ef7-8609-838862aed947" providerId="ADAL" clId="{E4DEF16F-2E44-48F1-8EE7-0D3223475222}" dt="2022-05-04T07:23:19.563" v="594" actId="1076"/>
          <ac:spMkLst>
            <pc:docMk/>
            <pc:sldMk cId="1800509110" sldId="560"/>
            <ac:spMk id="7" creationId="{867CCCA5-A798-4660-B5FA-DF8C70641B5E}"/>
          </ac:spMkLst>
        </pc:spChg>
        <pc:spChg chg="add del">
          <ac:chgData name="Hoàng Thanh Tâm / VĨNH HOÀN / Chiến Lược" userId="94a8c68a-b754-4ef7-8609-838862aed947" providerId="ADAL" clId="{E4DEF16F-2E44-48F1-8EE7-0D3223475222}" dt="2022-05-04T07:12:20.661" v="194"/>
          <ac:spMkLst>
            <pc:docMk/>
            <pc:sldMk cId="1800509110" sldId="560"/>
            <ac:spMk id="8" creationId="{F392BE12-401F-6163-2A23-BF20A7756F8F}"/>
          </ac:spMkLst>
        </pc:spChg>
        <pc:spChg chg="mod">
          <ac:chgData name="Hoàng Thanh Tâm / VĨNH HOÀN / Chiến Lược" userId="94a8c68a-b754-4ef7-8609-838862aed947" providerId="ADAL" clId="{E4DEF16F-2E44-48F1-8EE7-0D3223475222}" dt="2022-05-04T07:25:02.544" v="664" actId="14100"/>
          <ac:spMkLst>
            <pc:docMk/>
            <pc:sldMk cId="1800509110" sldId="560"/>
            <ac:spMk id="9" creationId="{077F4FC6-2E76-48D8-8797-51CD0910CEB2}"/>
          </ac:spMkLst>
        </pc:spChg>
        <pc:spChg chg="add del">
          <ac:chgData name="Hoàng Thanh Tâm / VĨNH HOÀN / Chiến Lược" userId="94a8c68a-b754-4ef7-8609-838862aed947" providerId="ADAL" clId="{E4DEF16F-2E44-48F1-8EE7-0D3223475222}" dt="2022-05-04T07:12:26.712" v="196"/>
          <ac:spMkLst>
            <pc:docMk/>
            <pc:sldMk cId="1800509110" sldId="560"/>
            <ac:spMk id="10" creationId="{A8C19CA3-AD16-BFF4-3E19-CA491BB81F3B}"/>
          </ac:spMkLst>
        </pc:spChg>
        <pc:spChg chg="add del">
          <ac:chgData name="Hoàng Thanh Tâm / VĨNH HOÀN / Chiến Lược" userId="94a8c68a-b754-4ef7-8609-838862aed947" providerId="ADAL" clId="{E4DEF16F-2E44-48F1-8EE7-0D3223475222}" dt="2022-05-04T07:14:35.465" v="253"/>
          <ac:spMkLst>
            <pc:docMk/>
            <pc:sldMk cId="1800509110" sldId="560"/>
            <ac:spMk id="11" creationId="{40EE144D-AA53-19D8-69B4-74D5FEA542B6}"/>
          </ac:spMkLst>
        </pc:spChg>
      </pc:sldChg>
      <pc:sldChg chg="new del">
        <pc:chgData name="Hoàng Thanh Tâm / VĨNH HOÀN / Chiến Lược" userId="94a8c68a-b754-4ef7-8609-838862aed947" providerId="ADAL" clId="{E4DEF16F-2E44-48F1-8EE7-0D3223475222}" dt="2022-05-04T07:32:07.806" v="785" actId="47"/>
        <pc:sldMkLst>
          <pc:docMk/>
          <pc:sldMk cId="1954163561" sldId="561"/>
        </pc:sldMkLst>
      </pc:sldChg>
      <pc:sldChg chg="addSp delSp modSp add mod">
        <pc:chgData name="Hoàng Thanh Tâm / VĨNH HOÀN / Chiến Lược" userId="94a8c68a-b754-4ef7-8609-838862aed947" providerId="ADAL" clId="{E4DEF16F-2E44-48F1-8EE7-0D3223475222}" dt="2022-05-04T07:47:21.760" v="1233" actId="1036"/>
        <pc:sldMkLst>
          <pc:docMk/>
          <pc:sldMk cId="593238857" sldId="562"/>
        </pc:sldMkLst>
        <pc:spChg chg="mod">
          <ac:chgData name="Hoàng Thanh Tâm / VĨNH HOÀN / Chiến Lược" userId="94a8c68a-b754-4ef7-8609-838862aed947" providerId="ADAL" clId="{E4DEF16F-2E44-48F1-8EE7-0D3223475222}" dt="2022-05-04T07:47:21.760" v="1233" actId="1036"/>
          <ac:spMkLst>
            <pc:docMk/>
            <pc:sldMk cId="593238857" sldId="562"/>
            <ac:spMk id="10" creationId="{B77A828B-ADC2-4456-B519-DCB7FD02DA3A}"/>
          </ac:spMkLst>
        </pc:spChg>
        <pc:picChg chg="del">
          <ac:chgData name="Hoàng Thanh Tâm / VĨNH HOÀN / Chiến Lược" userId="94a8c68a-b754-4ef7-8609-838862aed947" providerId="ADAL" clId="{E4DEF16F-2E44-48F1-8EE7-0D3223475222}" dt="2022-05-04T07:32:46.154" v="790" actId="478"/>
          <ac:picMkLst>
            <pc:docMk/>
            <pc:sldMk cId="593238857" sldId="562"/>
            <ac:picMk id="6" creationId="{BAB89963-80A2-8280-39F3-AEDFB7A92C03}"/>
          </ac:picMkLst>
        </pc:picChg>
        <pc:picChg chg="del">
          <ac:chgData name="Hoàng Thanh Tâm / VĨNH HOÀN / Chiến Lược" userId="94a8c68a-b754-4ef7-8609-838862aed947" providerId="ADAL" clId="{E4DEF16F-2E44-48F1-8EE7-0D3223475222}" dt="2022-05-04T07:32:31.154" v="786" actId="478"/>
          <ac:picMkLst>
            <pc:docMk/>
            <pc:sldMk cId="593238857" sldId="562"/>
            <ac:picMk id="8" creationId="{8D497D28-11BE-BC78-79F9-7739165B36E2}"/>
          </ac:picMkLst>
        </pc:picChg>
        <pc:picChg chg="add mod">
          <ac:chgData name="Hoàng Thanh Tâm / VĨNH HOÀN / Chiến Lược" userId="94a8c68a-b754-4ef7-8609-838862aed947" providerId="ADAL" clId="{E4DEF16F-2E44-48F1-8EE7-0D3223475222}" dt="2022-05-04T07:47:21.760" v="1233" actId="1036"/>
          <ac:picMkLst>
            <pc:docMk/>
            <pc:sldMk cId="593238857" sldId="562"/>
            <ac:picMk id="9" creationId="{B603A84E-CFBA-DC2D-26D9-BFD9A4DE46BF}"/>
          </ac:picMkLst>
        </pc:picChg>
        <pc:cxnChg chg="mod">
          <ac:chgData name="Hoàng Thanh Tâm / VĨNH HOÀN / Chiến Lược" userId="94a8c68a-b754-4ef7-8609-838862aed947" providerId="ADAL" clId="{E4DEF16F-2E44-48F1-8EE7-0D3223475222}" dt="2022-05-04T07:47:21.760" v="1233" actId="1036"/>
          <ac:cxnSpMkLst>
            <pc:docMk/>
            <pc:sldMk cId="593238857" sldId="562"/>
            <ac:cxnSpMk id="15" creationId="{3C64531C-3C3E-4B0D-A4B7-789542CA5B25}"/>
          </ac:cxnSpMkLst>
        </pc:cxnChg>
      </pc:sldChg>
      <pc:sldChg chg="new del">
        <pc:chgData name="Hoàng Thanh Tâm / VĨNH HOÀN / Chiến Lược" userId="94a8c68a-b754-4ef7-8609-838862aed947" providerId="ADAL" clId="{E4DEF16F-2E44-48F1-8EE7-0D3223475222}" dt="2022-05-04T07:36:47.552" v="873" actId="47"/>
        <pc:sldMkLst>
          <pc:docMk/>
          <pc:sldMk cId="1029760258" sldId="563"/>
        </pc:sldMkLst>
      </pc:sldChg>
      <pc:sldChg chg="addSp delSp modSp add mod">
        <pc:chgData name="Hoàng Thanh Tâm / VĨNH HOÀN / Chiến Lược" userId="94a8c68a-b754-4ef7-8609-838862aed947" providerId="ADAL" clId="{E4DEF16F-2E44-48F1-8EE7-0D3223475222}" dt="2022-05-04T07:47:56.514" v="1247" actId="1035"/>
        <pc:sldMkLst>
          <pc:docMk/>
          <pc:sldMk cId="692734820" sldId="564"/>
        </pc:sldMkLst>
        <pc:spChg chg="mod">
          <ac:chgData name="Hoàng Thanh Tâm / VĨNH HOÀN / Chiến Lược" userId="94a8c68a-b754-4ef7-8609-838862aed947" providerId="ADAL" clId="{E4DEF16F-2E44-48F1-8EE7-0D3223475222}" dt="2022-05-04T07:47:56.514" v="1247" actId="1035"/>
          <ac:spMkLst>
            <pc:docMk/>
            <pc:sldMk cId="692734820" sldId="564"/>
            <ac:spMk id="10" creationId="{B77A828B-ADC2-4456-B519-DCB7FD02DA3A}"/>
          </ac:spMkLst>
        </pc:spChg>
        <pc:picChg chg="add mod">
          <ac:chgData name="Hoàng Thanh Tâm / VĨNH HOÀN / Chiến Lược" userId="94a8c68a-b754-4ef7-8609-838862aed947" providerId="ADAL" clId="{E4DEF16F-2E44-48F1-8EE7-0D3223475222}" dt="2022-05-04T07:47:56.514" v="1247" actId="1035"/>
          <ac:picMkLst>
            <pc:docMk/>
            <pc:sldMk cId="692734820" sldId="564"/>
            <ac:picMk id="6" creationId="{200EBD2D-1CDB-82D8-7C28-7BBB9329EB25}"/>
          </ac:picMkLst>
        </pc:picChg>
        <pc:picChg chg="del">
          <ac:chgData name="Hoàng Thanh Tâm / VĨNH HOÀN / Chiến Lược" userId="94a8c68a-b754-4ef7-8609-838862aed947" providerId="ADAL" clId="{E4DEF16F-2E44-48F1-8EE7-0D3223475222}" dt="2022-05-04T07:37:35.384" v="874" actId="478"/>
          <ac:picMkLst>
            <pc:docMk/>
            <pc:sldMk cId="692734820" sldId="564"/>
            <ac:picMk id="9" creationId="{B603A84E-CFBA-DC2D-26D9-BFD9A4DE46BF}"/>
          </ac:picMkLst>
        </pc:picChg>
        <pc:cxnChg chg="mod">
          <ac:chgData name="Hoàng Thanh Tâm / VĨNH HOÀN / Chiến Lược" userId="94a8c68a-b754-4ef7-8609-838862aed947" providerId="ADAL" clId="{E4DEF16F-2E44-48F1-8EE7-0D3223475222}" dt="2022-05-04T07:47:56.514" v="1247" actId="1035"/>
          <ac:cxnSpMkLst>
            <pc:docMk/>
            <pc:sldMk cId="692734820" sldId="564"/>
            <ac:cxnSpMk id="15" creationId="{3C64531C-3C3E-4B0D-A4B7-789542CA5B25}"/>
          </ac:cxnSpMkLst>
        </pc:cxnChg>
      </pc:sldChg>
      <pc:sldChg chg="addSp delSp modSp add mod">
        <pc:chgData name="Hoàng Thanh Tâm / VĨNH HOÀN / Chiến Lược" userId="94a8c68a-b754-4ef7-8609-838862aed947" providerId="ADAL" clId="{E4DEF16F-2E44-48F1-8EE7-0D3223475222}" dt="2022-05-04T07:48:03.812" v="1248" actId="1076"/>
        <pc:sldMkLst>
          <pc:docMk/>
          <pc:sldMk cId="2619303008" sldId="565"/>
        </pc:sldMkLst>
        <pc:spChg chg="mod">
          <ac:chgData name="Hoàng Thanh Tâm / VĨNH HOÀN / Chiến Lược" userId="94a8c68a-b754-4ef7-8609-838862aed947" providerId="ADAL" clId="{E4DEF16F-2E44-48F1-8EE7-0D3223475222}" dt="2022-05-04T07:43:49.307" v="966" actId="20577"/>
          <ac:spMkLst>
            <pc:docMk/>
            <pc:sldMk cId="2619303008" sldId="565"/>
            <ac:spMk id="10" creationId="{B77A828B-ADC2-4456-B519-DCB7FD02DA3A}"/>
          </ac:spMkLst>
        </pc:spChg>
        <pc:picChg chg="del">
          <ac:chgData name="Hoàng Thanh Tâm / VĨNH HOÀN / Chiến Lược" userId="94a8c68a-b754-4ef7-8609-838862aed947" providerId="ADAL" clId="{E4DEF16F-2E44-48F1-8EE7-0D3223475222}" dt="2022-05-04T07:40:09.837" v="924" actId="478"/>
          <ac:picMkLst>
            <pc:docMk/>
            <pc:sldMk cId="2619303008" sldId="565"/>
            <ac:picMk id="6" creationId="{200EBD2D-1CDB-82D8-7C28-7BBB9329EB25}"/>
          </ac:picMkLst>
        </pc:picChg>
        <pc:picChg chg="add mod">
          <ac:chgData name="Hoàng Thanh Tâm / VĨNH HOÀN / Chiến Lược" userId="94a8c68a-b754-4ef7-8609-838862aed947" providerId="ADAL" clId="{E4DEF16F-2E44-48F1-8EE7-0D3223475222}" dt="2022-05-04T07:48:03.812" v="1248" actId="1076"/>
          <ac:picMkLst>
            <pc:docMk/>
            <pc:sldMk cId="2619303008" sldId="565"/>
            <ac:picMk id="7" creationId="{A4536743-A28E-DE38-C521-F2D0E411B37A}"/>
          </ac:picMkLst>
        </pc:picChg>
        <pc:cxnChg chg="mod">
          <ac:chgData name="Hoàng Thanh Tâm / VĨNH HOÀN / Chiến Lược" userId="94a8c68a-b754-4ef7-8609-838862aed947" providerId="ADAL" clId="{E4DEF16F-2E44-48F1-8EE7-0D3223475222}" dt="2022-05-04T07:42:00.308" v="949" actId="1076"/>
          <ac:cxnSpMkLst>
            <pc:docMk/>
            <pc:sldMk cId="2619303008" sldId="565"/>
            <ac:cxnSpMk id="15" creationId="{3C64531C-3C3E-4B0D-A4B7-789542CA5B25}"/>
          </ac:cxnSpMkLst>
        </pc:cxnChg>
      </pc:sldChg>
      <pc:sldChg chg="addSp delSp modSp add mod ord">
        <pc:chgData name="Hoàng Thanh Tâm / VĨNH HOÀN / Chiến Lược" userId="94a8c68a-b754-4ef7-8609-838862aed947" providerId="ADAL" clId="{E4DEF16F-2E44-48F1-8EE7-0D3223475222}" dt="2022-05-04T09:02:44.341" v="1395" actId="1076"/>
        <pc:sldMkLst>
          <pc:docMk/>
          <pc:sldMk cId="3302402171" sldId="566"/>
        </pc:sldMkLst>
        <pc:spChg chg="mod">
          <ac:chgData name="Hoàng Thanh Tâm / VĨNH HOÀN / Chiến Lược" userId="94a8c68a-b754-4ef7-8609-838862aed947" providerId="ADAL" clId="{E4DEF16F-2E44-48F1-8EE7-0D3223475222}" dt="2022-05-04T09:02:44.341" v="1395" actId="1076"/>
          <ac:spMkLst>
            <pc:docMk/>
            <pc:sldMk cId="3302402171" sldId="566"/>
            <ac:spMk id="10" creationId="{B77A828B-ADC2-4456-B519-DCB7FD02DA3A}"/>
          </ac:spMkLst>
        </pc:spChg>
        <pc:picChg chg="add mod">
          <ac:chgData name="Hoàng Thanh Tâm / VĨNH HOÀN / Chiến Lược" userId="94a8c68a-b754-4ef7-8609-838862aed947" providerId="ADAL" clId="{E4DEF16F-2E44-48F1-8EE7-0D3223475222}" dt="2022-05-04T08:57:41.885" v="1268" actId="14100"/>
          <ac:picMkLst>
            <pc:docMk/>
            <pc:sldMk cId="3302402171" sldId="566"/>
            <ac:picMk id="6" creationId="{BE66BA3E-3EEB-F8C3-366C-B5138D765500}"/>
          </ac:picMkLst>
        </pc:picChg>
        <pc:picChg chg="del">
          <ac:chgData name="Hoàng Thanh Tâm / VĨNH HOÀN / Chiến Lược" userId="94a8c68a-b754-4ef7-8609-838862aed947" providerId="ADAL" clId="{E4DEF16F-2E44-48F1-8EE7-0D3223475222}" dt="2022-05-04T07:42:25.291" v="953" actId="478"/>
          <ac:picMkLst>
            <pc:docMk/>
            <pc:sldMk cId="3302402171" sldId="566"/>
            <ac:picMk id="7" creationId="{A4536743-A28E-DE38-C521-F2D0E411B37A}"/>
          </ac:picMkLst>
        </pc:picChg>
        <pc:picChg chg="add mod">
          <ac:chgData name="Hoàng Thanh Tâm / VĨNH HOÀN / Chiến Lược" userId="94a8c68a-b754-4ef7-8609-838862aed947" providerId="ADAL" clId="{E4DEF16F-2E44-48F1-8EE7-0D3223475222}" dt="2022-05-04T08:57:36.656" v="1267" actId="14100"/>
          <ac:picMkLst>
            <pc:docMk/>
            <pc:sldMk cId="3302402171" sldId="566"/>
            <ac:picMk id="8" creationId="{4EFA6B70-EDAF-09C7-F34D-7B1F09C6DD95}"/>
          </ac:picMkLst>
        </pc:picChg>
        <pc:cxnChg chg="mod">
          <ac:chgData name="Hoàng Thanh Tâm / VĨNH HOÀN / Chiến Lược" userId="94a8c68a-b754-4ef7-8609-838862aed947" providerId="ADAL" clId="{E4DEF16F-2E44-48F1-8EE7-0D3223475222}" dt="2022-05-04T08:56:37.155" v="1256" actId="14100"/>
          <ac:cxnSpMkLst>
            <pc:docMk/>
            <pc:sldMk cId="3302402171" sldId="566"/>
            <ac:cxnSpMk id="15" creationId="{3C64531C-3C3E-4B0D-A4B7-789542CA5B25}"/>
          </ac:cxnSpMkLst>
        </pc:cxnChg>
      </pc:sldChg>
    </pc:docChg>
  </pc:docChgLst>
  <pc:docChgLst>
    <pc:chgData name="Hoàng Thanh Tâm / VĨNH HOÀN / Chiến Lược" userId="94a8c68a-b754-4ef7-8609-838862aed947" providerId="ADAL" clId="{7E9FF501-B3CB-49B9-BF35-75000F776CCC}"/>
    <pc:docChg chg="undo redo custSel addSld delSld modSld">
      <pc:chgData name="Hoàng Thanh Tâm / VĨNH HOÀN / Chiến Lược" userId="94a8c68a-b754-4ef7-8609-838862aed947" providerId="ADAL" clId="{7E9FF501-B3CB-49B9-BF35-75000F776CCC}" dt="2022-05-10T06:52:32.121" v="844" actId="20577"/>
      <pc:docMkLst>
        <pc:docMk/>
      </pc:docMkLst>
      <pc:sldChg chg="addSp delSp modSp add del mod">
        <pc:chgData name="Hoàng Thanh Tâm / VĨNH HOÀN / Chiến Lược" userId="94a8c68a-b754-4ef7-8609-838862aed947" providerId="ADAL" clId="{7E9FF501-B3CB-49B9-BF35-75000F776CCC}" dt="2022-05-10T06:52:32.121" v="844" actId="20577"/>
        <pc:sldMkLst>
          <pc:docMk/>
          <pc:sldMk cId="1585040284" sldId="555"/>
        </pc:sldMkLst>
        <pc:spChg chg="mod">
          <ac:chgData name="Hoàng Thanh Tâm / VĨNH HOÀN / Chiến Lược" userId="94a8c68a-b754-4ef7-8609-838862aed947" providerId="ADAL" clId="{7E9FF501-B3CB-49B9-BF35-75000F776CCC}" dt="2022-05-09T15:07:50.604" v="101" actId="20577"/>
          <ac:spMkLst>
            <pc:docMk/>
            <pc:sldMk cId="1585040284" sldId="555"/>
            <ac:spMk id="8" creationId="{37844C08-8EB5-452A-88C6-707D460BA324}"/>
          </ac:spMkLst>
        </pc:spChg>
        <pc:spChg chg="mod">
          <ac:chgData name="Hoàng Thanh Tâm / VĨNH HOÀN / Chiến Lược" userId="94a8c68a-b754-4ef7-8609-838862aed947" providerId="ADAL" clId="{7E9FF501-B3CB-49B9-BF35-75000F776CCC}" dt="2022-05-10T06:52:25.083" v="839" actId="20577"/>
          <ac:spMkLst>
            <pc:docMk/>
            <pc:sldMk cId="1585040284" sldId="555"/>
            <ac:spMk id="11" creationId="{D3754282-48E0-47FB-B37B-384FB7F75E72}"/>
          </ac:spMkLst>
        </pc:spChg>
        <pc:spChg chg="add del mod">
          <ac:chgData name="Hoàng Thanh Tâm / VĨNH HOÀN / Chiến Lược" userId="94a8c68a-b754-4ef7-8609-838862aed947" providerId="ADAL" clId="{7E9FF501-B3CB-49B9-BF35-75000F776CCC}" dt="2022-05-09T16:45:31.393" v="136"/>
          <ac:spMkLst>
            <pc:docMk/>
            <pc:sldMk cId="1585040284" sldId="555"/>
            <ac:spMk id="24" creationId="{8E08CFA1-E227-29C4-C285-01C5F3EE77FB}"/>
          </ac:spMkLst>
        </pc:spChg>
        <pc:spChg chg="add mod">
          <ac:chgData name="Hoàng Thanh Tâm / VĨNH HOÀN / Chiến Lược" userId="94a8c68a-b754-4ef7-8609-838862aed947" providerId="ADAL" clId="{7E9FF501-B3CB-49B9-BF35-75000F776CCC}" dt="2022-05-10T06:50:24.470" v="784" actId="20577"/>
          <ac:spMkLst>
            <pc:docMk/>
            <pc:sldMk cId="1585040284" sldId="555"/>
            <ac:spMk id="29" creationId="{B73D0C22-00DD-2824-6640-FAD43813FF2F}"/>
          </ac:spMkLst>
        </pc:spChg>
        <pc:spChg chg="add del mod">
          <ac:chgData name="Hoàng Thanh Tâm / VĨNH HOÀN / Chiến Lược" userId="94a8c68a-b754-4ef7-8609-838862aed947" providerId="ADAL" clId="{7E9FF501-B3CB-49B9-BF35-75000F776CCC}" dt="2022-05-09T16:46:23.971" v="147"/>
          <ac:spMkLst>
            <pc:docMk/>
            <pc:sldMk cId="1585040284" sldId="555"/>
            <ac:spMk id="30" creationId="{47F7AFA0-E7B2-449C-0E2B-5A7CC2177DC2}"/>
          </ac:spMkLst>
        </pc:spChg>
        <pc:spChg chg="del">
          <ac:chgData name="Hoàng Thanh Tâm / VĨNH HOÀN / Chiến Lược" userId="94a8c68a-b754-4ef7-8609-838862aed947" providerId="ADAL" clId="{7E9FF501-B3CB-49B9-BF35-75000F776CCC}" dt="2022-05-09T15:01:33.812" v="14" actId="478"/>
          <ac:spMkLst>
            <pc:docMk/>
            <pc:sldMk cId="1585040284" sldId="555"/>
            <ac:spMk id="31" creationId="{F0C631E5-142C-4C6C-8787-2B55FD94EFF8}"/>
          </ac:spMkLst>
        </pc:spChg>
        <pc:spChg chg="del">
          <ac:chgData name="Hoàng Thanh Tâm / VĨNH HOÀN / Chiến Lược" userId="94a8c68a-b754-4ef7-8609-838862aed947" providerId="ADAL" clId="{7E9FF501-B3CB-49B9-BF35-75000F776CCC}" dt="2022-05-09T15:01:33.812" v="14" actId="478"/>
          <ac:spMkLst>
            <pc:docMk/>
            <pc:sldMk cId="1585040284" sldId="555"/>
            <ac:spMk id="32" creationId="{10534198-658E-4D10-9631-0CDC05B2AA2D}"/>
          </ac:spMkLst>
        </pc:spChg>
        <pc:spChg chg="del">
          <ac:chgData name="Hoàng Thanh Tâm / VĨNH HOÀN / Chiến Lược" userId="94a8c68a-b754-4ef7-8609-838862aed947" providerId="ADAL" clId="{7E9FF501-B3CB-49B9-BF35-75000F776CCC}" dt="2022-05-09T15:01:33.812" v="14" actId="478"/>
          <ac:spMkLst>
            <pc:docMk/>
            <pc:sldMk cId="1585040284" sldId="555"/>
            <ac:spMk id="33" creationId="{F63E68AA-294D-4BCF-B687-49EF1A923435}"/>
          </ac:spMkLst>
        </pc:spChg>
        <pc:spChg chg="del">
          <ac:chgData name="Hoàng Thanh Tâm / VĨNH HOÀN / Chiến Lược" userId="94a8c68a-b754-4ef7-8609-838862aed947" providerId="ADAL" clId="{7E9FF501-B3CB-49B9-BF35-75000F776CCC}" dt="2022-05-09T15:01:33.812" v="14" actId="478"/>
          <ac:spMkLst>
            <pc:docMk/>
            <pc:sldMk cId="1585040284" sldId="555"/>
            <ac:spMk id="34" creationId="{0FC2ACB1-F810-4DE9-BE9C-4B91F1799B8B}"/>
          </ac:spMkLst>
        </pc:spChg>
        <pc:spChg chg="add mod">
          <ac:chgData name="Hoàng Thanh Tâm / VĨNH HOÀN / Chiến Lược" userId="94a8c68a-b754-4ef7-8609-838862aed947" providerId="ADAL" clId="{7E9FF501-B3CB-49B9-BF35-75000F776CCC}" dt="2022-05-10T06:50:32.583" v="786" actId="20577"/>
          <ac:spMkLst>
            <pc:docMk/>
            <pc:sldMk cId="1585040284" sldId="555"/>
            <ac:spMk id="34" creationId="{E460A588-BB9A-BEB5-91DF-D3E88FE46D60}"/>
          </ac:spMkLst>
        </pc:spChg>
        <pc:spChg chg="del">
          <ac:chgData name="Hoàng Thanh Tâm / VĨNH HOÀN / Chiến Lược" userId="94a8c68a-b754-4ef7-8609-838862aed947" providerId="ADAL" clId="{7E9FF501-B3CB-49B9-BF35-75000F776CCC}" dt="2022-05-09T15:01:33.812" v="14" actId="478"/>
          <ac:spMkLst>
            <pc:docMk/>
            <pc:sldMk cId="1585040284" sldId="555"/>
            <ac:spMk id="35" creationId="{835F5CEA-EEB1-4923-8E0B-06E733D1AA2C}"/>
          </ac:spMkLst>
        </pc:spChg>
        <pc:spChg chg="add mod">
          <ac:chgData name="Hoàng Thanh Tâm / VĨNH HOÀN / Chiến Lược" userId="94a8c68a-b754-4ef7-8609-838862aed947" providerId="ADAL" clId="{7E9FF501-B3CB-49B9-BF35-75000F776CCC}" dt="2022-05-10T06:50:38.583" v="788" actId="20577"/>
          <ac:spMkLst>
            <pc:docMk/>
            <pc:sldMk cId="1585040284" sldId="555"/>
            <ac:spMk id="37" creationId="{7356D0B9-1F69-F3E3-0153-4D5E53FEF2F7}"/>
          </ac:spMkLst>
        </pc:spChg>
        <pc:spChg chg="add mod">
          <ac:chgData name="Hoàng Thanh Tâm / VĨNH HOÀN / Chiến Lược" userId="94a8c68a-b754-4ef7-8609-838862aed947" providerId="ADAL" clId="{7E9FF501-B3CB-49B9-BF35-75000F776CCC}" dt="2022-05-10T06:43:50.230" v="657" actId="1076"/>
          <ac:spMkLst>
            <pc:docMk/>
            <pc:sldMk cId="1585040284" sldId="555"/>
            <ac:spMk id="40" creationId="{B1709B42-0881-F3C8-BC66-5CD9DCBE75B1}"/>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45" creationId="{FB35590E-B0E0-1930-5CA5-349AB49148BC}"/>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48" creationId="{76E64BC0-B50D-D549-BE02-BFD031FBDDA9}"/>
          </ac:spMkLst>
        </pc:spChg>
        <pc:spChg chg="add mod">
          <ac:chgData name="Hoàng Thanh Tâm / VĨNH HOÀN / Chiến Lược" userId="94a8c68a-b754-4ef7-8609-838862aed947" providerId="ADAL" clId="{7E9FF501-B3CB-49B9-BF35-75000F776CCC}" dt="2022-05-10T06:52:32.121" v="844" actId="20577"/>
          <ac:spMkLst>
            <pc:docMk/>
            <pc:sldMk cId="1585040284" sldId="555"/>
            <ac:spMk id="50" creationId="{4E27A8EA-D260-14DE-E961-77857D37EAD8}"/>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51" creationId="{E0B2FB93-A95C-F2DF-6EAB-53969A886CB1}"/>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54" creationId="{06B34680-7EAF-6AD0-3A33-99AA4DF6290D}"/>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56" creationId="{8C2A3F5C-000C-4C80-F5AB-606409853A71}"/>
          </ac:spMkLst>
        </pc:spChg>
        <pc:spChg chg="del">
          <ac:chgData name="Hoàng Thanh Tâm / VĨNH HOÀN / Chiến Lược" userId="94a8c68a-b754-4ef7-8609-838862aed947" providerId="ADAL" clId="{7E9FF501-B3CB-49B9-BF35-75000F776CCC}" dt="2022-05-09T15:02:08.718" v="48" actId="478"/>
          <ac:spMkLst>
            <pc:docMk/>
            <pc:sldMk cId="1585040284" sldId="555"/>
            <ac:spMk id="57" creationId="{4778622D-66FD-4297-ACAE-DE75FB42DA7A}"/>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58" creationId="{3737EB95-2574-3D9D-074C-2F5F226A4DB1}"/>
          </ac:spMkLst>
        </pc:spChg>
        <pc:spChg chg="del">
          <ac:chgData name="Hoàng Thanh Tâm / VĨNH HOÀN / Chiến Lược" userId="94a8c68a-b754-4ef7-8609-838862aed947" providerId="ADAL" clId="{7E9FF501-B3CB-49B9-BF35-75000F776CCC}" dt="2022-05-09T15:02:05.893" v="44" actId="478"/>
          <ac:spMkLst>
            <pc:docMk/>
            <pc:sldMk cId="1585040284" sldId="555"/>
            <ac:spMk id="58" creationId="{A7C65916-1CAD-479D-B732-FFEEABC4E23E}"/>
          </ac:spMkLst>
        </pc:spChg>
        <pc:spChg chg="del">
          <ac:chgData name="Hoàng Thanh Tâm / VĨNH HOÀN / Chiến Lược" userId="94a8c68a-b754-4ef7-8609-838862aed947" providerId="ADAL" clId="{7E9FF501-B3CB-49B9-BF35-75000F776CCC}" dt="2022-05-09T15:02:00.051" v="39" actId="478"/>
          <ac:spMkLst>
            <pc:docMk/>
            <pc:sldMk cId="1585040284" sldId="555"/>
            <ac:spMk id="59" creationId="{6B4753C9-D86F-42FB-A609-2C2CB4285026}"/>
          </ac:spMkLst>
        </pc:spChg>
        <pc:spChg chg="add del mod">
          <ac:chgData name="Hoàng Thanh Tâm / VĨNH HOÀN / Chiến Lược" userId="94a8c68a-b754-4ef7-8609-838862aed947" providerId="ADAL" clId="{7E9FF501-B3CB-49B9-BF35-75000F776CCC}" dt="2022-05-09T16:56:18.592" v="232" actId="478"/>
          <ac:spMkLst>
            <pc:docMk/>
            <pc:sldMk cId="1585040284" sldId="555"/>
            <ac:spMk id="60" creationId="{4BFAC09D-7372-998E-AE4A-70ADA67EEC18}"/>
          </ac:spMkLst>
        </pc:spChg>
        <pc:spChg chg="add mod">
          <ac:chgData name="Hoàng Thanh Tâm / VĨNH HOÀN / Chiến Lược" userId="94a8c68a-b754-4ef7-8609-838862aed947" providerId="ADAL" clId="{7E9FF501-B3CB-49B9-BF35-75000F776CCC}" dt="2022-05-10T06:51:40.096" v="814" actId="20577"/>
          <ac:spMkLst>
            <pc:docMk/>
            <pc:sldMk cId="1585040284" sldId="555"/>
            <ac:spMk id="63" creationId="{48C043F0-2FB8-7D56-D0D2-409A97025C53}"/>
          </ac:spMkLst>
        </pc:spChg>
        <pc:spChg chg="del mod">
          <ac:chgData name="Hoàng Thanh Tâm / VĨNH HOÀN / Chiến Lược" userId="94a8c68a-b754-4ef7-8609-838862aed947" providerId="ADAL" clId="{7E9FF501-B3CB-49B9-BF35-75000F776CCC}" dt="2022-05-09T15:01:57.673" v="38" actId="478"/>
          <ac:spMkLst>
            <pc:docMk/>
            <pc:sldMk cId="1585040284" sldId="555"/>
            <ac:spMk id="64" creationId="{8D2CA65B-0960-48D5-8826-501411046F41}"/>
          </ac:spMkLst>
        </pc:spChg>
        <pc:spChg chg="add mod">
          <ac:chgData name="Hoàng Thanh Tâm / VĨNH HOÀN / Chiến Lược" userId="94a8c68a-b754-4ef7-8609-838862aed947" providerId="ADAL" clId="{7E9FF501-B3CB-49B9-BF35-75000F776CCC}" dt="2022-05-10T06:51:31.244" v="808" actId="20577"/>
          <ac:spMkLst>
            <pc:docMk/>
            <pc:sldMk cId="1585040284" sldId="555"/>
            <ac:spMk id="69" creationId="{7F404CDF-9C8A-EE18-3291-809D8814DB78}"/>
          </ac:spMkLst>
        </pc:spChg>
        <pc:spChg chg="mod">
          <ac:chgData name="Hoàng Thanh Tâm / VĨNH HOÀN / Chiến Lược" userId="94a8c68a-b754-4ef7-8609-838862aed947" providerId="ADAL" clId="{7E9FF501-B3CB-49B9-BF35-75000F776CCC}" dt="2022-05-09T15:01:53.082" v="35" actId="6549"/>
          <ac:spMkLst>
            <pc:docMk/>
            <pc:sldMk cId="1585040284" sldId="555"/>
            <ac:spMk id="69" creationId="{8BC63451-F07E-44D7-8021-0A277BE22131}"/>
          </ac:spMkLst>
        </pc:spChg>
        <pc:spChg chg="add mod">
          <ac:chgData name="Hoàng Thanh Tâm / VĨNH HOÀN / Chiến Lược" userId="94a8c68a-b754-4ef7-8609-838862aed947" providerId="ADAL" clId="{7E9FF501-B3CB-49B9-BF35-75000F776CCC}" dt="2022-05-10T06:51:47.183" v="819" actId="20577"/>
          <ac:spMkLst>
            <pc:docMk/>
            <pc:sldMk cId="1585040284" sldId="555"/>
            <ac:spMk id="72" creationId="{0262586C-DEB2-0D78-0CB3-C6AA0F6B2B96}"/>
          </ac:spMkLst>
        </pc:spChg>
        <pc:spChg chg="del">
          <ac:chgData name="Hoàng Thanh Tâm / VĨNH HOÀN / Chiến Lược" userId="94a8c68a-b754-4ef7-8609-838862aed947" providerId="ADAL" clId="{7E9FF501-B3CB-49B9-BF35-75000F776CCC}" dt="2022-05-09T15:01:33.812" v="14" actId="478"/>
          <ac:spMkLst>
            <pc:docMk/>
            <pc:sldMk cId="1585040284" sldId="555"/>
            <ac:spMk id="73" creationId="{D02F89B1-4789-4F10-A9F6-9242E085F35E}"/>
          </ac:spMkLst>
        </pc:spChg>
        <pc:spChg chg="add mod">
          <ac:chgData name="Hoàng Thanh Tâm / VĨNH HOÀN / Chiến Lược" userId="94a8c68a-b754-4ef7-8609-838862aed947" providerId="ADAL" clId="{7E9FF501-B3CB-49B9-BF35-75000F776CCC}" dt="2022-05-10T06:52:21.082" v="837" actId="20577"/>
          <ac:spMkLst>
            <pc:docMk/>
            <pc:sldMk cId="1585040284" sldId="555"/>
            <ac:spMk id="75" creationId="{534A59BB-5CA6-37D0-53F7-CFCBBF0E34DD}"/>
          </ac:spMkLst>
        </pc:spChg>
        <pc:spChg chg="del">
          <ac:chgData name="Hoàng Thanh Tâm / VĨNH HOÀN / Chiến Lược" userId="94a8c68a-b754-4ef7-8609-838862aed947" providerId="ADAL" clId="{7E9FF501-B3CB-49B9-BF35-75000F776CCC}" dt="2022-05-09T15:01:33.812" v="14" actId="478"/>
          <ac:spMkLst>
            <pc:docMk/>
            <pc:sldMk cId="1585040284" sldId="555"/>
            <ac:spMk id="77" creationId="{280ADE22-315B-408D-8122-05AA6E738655}"/>
          </ac:spMkLst>
        </pc:spChg>
        <pc:spChg chg="add mod">
          <ac:chgData name="Hoàng Thanh Tâm / VĨNH HOÀN / Chiến Lược" userId="94a8c68a-b754-4ef7-8609-838862aed947" providerId="ADAL" clId="{7E9FF501-B3CB-49B9-BF35-75000F776CCC}" dt="2022-05-10T06:49:59.720" v="765" actId="20577"/>
          <ac:spMkLst>
            <pc:docMk/>
            <pc:sldMk cId="1585040284" sldId="555"/>
            <ac:spMk id="80" creationId="{DC2EA58E-BF2B-3071-AE6B-3913C0083731}"/>
          </ac:spMkLst>
        </pc:spChg>
        <pc:spChg chg="add mod">
          <ac:chgData name="Hoàng Thanh Tâm / VĨNH HOÀN / Chiến Lược" userId="94a8c68a-b754-4ef7-8609-838862aed947" providerId="ADAL" clId="{7E9FF501-B3CB-49B9-BF35-75000F776CCC}" dt="2022-05-10T06:51:55.583" v="829" actId="20577"/>
          <ac:spMkLst>
            <pc:docMk/>
            <pc:sldMk cId="1585040284" sldId="555"/>
            <ac:spMk id="83" creationId="{66B90A20-716E-99B2-B5D9-C682CCCFAB27}"/>
          </ac:spMkLst>
        </pc:spChg>
        <pc:spChg chg="add del mod">
          <ac:chgData name="Hoàng Thanh Tâm / VĨNH HOÀN / Chiến Lược" userId="94a8c68a-b754-4ef7-8609-838862aed947" providerId="ADAL" clId="{7E9FF501-B3CB-49B9-BF35-75000F776CCC}" dt="2022-05-09T15:05:01.719" v="74"/>
          <ac:spMkLst>
            <pc:docMk/>
            <pc:sldMk cId="1585040284" sldId="555"/>
            <ac:spMk id="83" creationId="{693F4719-A475-4F8C-AE5E-4FA04C5C70D7}"/>
          </ac:spMkLst>
        </pc:spChg>
        <pc:spChg chg="add del mod">
          <ac:chgData name="Hoàng Thanh Tâm / VĨNH HOÀN / Chiến Lược" userId="94a8c68a-b754-4ef7-8609-838862aed947" providerId="ADAL" clId="{7E9FF501-B3CB-49B9-BF35-75000F776CCC}" dt="2022-05-09T15:05:01.368" v="73"/>
          <ac:spMkLst>
            <pc:docMk/>
            <pc:sldMk cId="1585040284" sldId="555"/>
            <ac:spMk id="86" creationId="{D319F893-1430-9597-1073-B6A4F3421811}"/>
          </ac:spMkLst>
        </pc:spChg>
        <pc:spChg chg="add del mod">
          <ac:chgData name="Hoàng Thanh Tâm / VĨNH HOÀN / Chiến Lược" userId="94a8c68a-b754-4ef7-8609-838862aed947" providerId="ADAL" clId="{7E9FF501-B3CB-49B9-BF35-75000F776CCC}" dt="2022-05-09T15:05:01.164" v="72"/>
          <ac:spMkLst>
            <pc:docMk/>
            <pc:sldMk cId="1585040284" sldId="555"/>
            <ac:spMk id="89" creationId="{4EFFAF5E-B597-44D9-49F4-6B8CC4EAD057}"/>
          </ac:spMkLst>
        </pc:spChg>
        <pc:spChg chg="add mod">
          <ac:chgData name="Hoàng Thanh Tâm / VĨNH HOÀN / Chiến Lược" userId="94a8c68a-b754-4ef7-8609-838862aed947" providerId="ADAL" clId="{7E9FF501-B3CB-49B9-BF35-75000F776CCC}" dt="2022-05-10T06:50:07.496" v="771" actId="20577"/>
          <ac:spMkLst>
            <pc:docMk/>
            <pc:sldMk cId="1585040284" sldId="555"/>
            <ac:spMk id="92" creationId="{8EF7FD2E-C18C-63FE-D759-2D8423A30CAF}"/>
          </ac:spMkLst>
        </pc:spChg>
        <pc:spChg chg="add del mod">
          <ac:chgData name="Hoàng Thanh Tâm / VĨNH HOÀN / Chiến Lược" userId="94a8c68a-b754-4ef7-8609-838862aed947" providerId="ADAL" clId="{7E9FF501-B3CB-49B9-BF35-75000F776CCC}" dt="2022-05-09T15:06:35.233" v="90"/>
          <ac:spMkLst>
            <pc:docMk/>
            <pc:sldMk cId="1585040284" sldId="555"/>
            <ac:spMk id="95" creationId="{724FBA64-2591-6660-98B1-15ED87D1BB50}"/>
          </ac:spMkLst>
        </pc:spChg>
        <pc:spChg chg="add del mod">
          <ac:chgData name="Hoàng Thanh Tâm / VĨNH HOÀN / Chiến Lược" userId="94a8c68a-b754-4ef7-8609-838862aed947" providerId="ADAL" clId="{7E9FF501-B3CB-49B9-BF35-75000F776CCC}" dt="2022-05-09T15:06:53.174" v="94"/>
          <ac:spMkLst>
            <pc:docMk/>
            <pc:sldMk cId="1585040284" sldId="555"/>
            <ac:spMk id="98" creationId="{2F4579E1-1F53-B6E8-08AE-A79E768FB909}"/>
          </ac:spMkLst>
        </pc:spChg>
        <pc:spChg chg="add mod">
          <ac:chgData name="Hoàng Thanh Tâm / VĨNH HOÀN / Chiến Lược" userId="94a8c68a-b754-4ef7-8609-838862aed947" providerId="ADAL" clId="{7E9FF501-B3CB-49B9-BF35-75000F776CCC}" dt="2022-05-10T06:50:15.484" v="778" actId="20577"/>
          <ac:spMkLst>
            <pc:docMk/>
            <pc:sldMk cId="1585040284" sldId="555"/>
            <ac:spMk id="102" creationId="{B1A40D40-25B1-B8B2-3356-1756CE174FF0}"/>
          </ac:spMkLst>
        </pc:spChg>
        <pc:grpChg chg="del">
          <ac:chgData name="Hoàng Thanh Tâm / VĨNH HOÀN / Chiến Lược" userId="94a8c68a-b754-4ef7-8609-838862aed947" providerId="ADAL" clId="{7E9FF501-B3CB-49B9-BF35-75000F776CCC}" dt="2022-05-09T15:02:11.792" v="52" actId="478"/>
          <ac:grpSpMkLst>
            <pc:docMk/>
            <pc:sldMk cId="1585040284" sldId="555"/>
            <ac:grpSpMk id="52" creationId="{089A8558-E571-4682-A5D5-27D55A7C86B7}"/>
          </ac:grpSpMkLst>
        </pc:grpChg>
        <pc:grpChg chg="del">
          <ac:chgData name="Hoàng Thanh Tâm / VĨNH HOÀN / Chiến Lược" userId="94a8c68a-b754-4ef7-8609-838862aed947" providerId="ADAL" clId="{7E9FF501-B3CB-49B9-BF35-75000F776CCC}" dt="2022-05-09T15:02:03.112" v="43" actId="478"/>
          <ac:grpSpMkLst>
            <pc:docMk/>
            <pc:sldMk cId="1585040284" sldId="555"/>
            <ac:grpSpMk id="60" creationId="{7A9B0C08-EFA0-4BD3-900F-80ED37F355A3}"/>
          </ac:grpSpMkLst>
        </pc:grpChg>
        <pc:grpChg chg="del">
          <ac:chgData name="Hoàng Thanh Tâm / VĨNH HOÀN / Chiến Lược" userId="94a8c68a-b754-4ef7-8609-838862aed947" providerId="ADAL" clId="{7E9FF501-B3CB-49B9-BF35-75000F776CCC}" dt="2022-05-09T15:01:55.112" v="36" actId="478"/>
          <ac:grpSpMkLst>
            <pc:docMk/>
            <pc:sldMk cId="1585040284" sldId="555"/>
            <ac:grpSpMk id="65" creationId="{5424DDA6-04DD-4177-8036-4D9F2CBB432F}"/>
          </ac:grpSpMkLst>
        </pc:grpChg>
        <pc:picChg chg="add del mod">
          <ac:chgData name="Hoàng Thanh Tâm / VĨNH HOÀN / Chiến Lược" userId="94a8c68a-b754-4ef7-8609-838862aed947" providerId="ADAL" clId="{7E9FF501-B3CB-49B9-BF35-75000F776CCC}" dt="2022-05-09T15:09:28.991" v="102" actId="478"/>
          <ac:picMkLst>
            <pc:docMk/>
            <pc:sldMk cId="1585040284" sldId="555"/>
            <ac:picMk id="4" creationId="{A9D81252-1EC3-7CFF-373D-FB526A270D5D}"/>
          </ac:picMkLst>
        </pc:picChg>
        <pc:picChg chg="add del mod ord">
          <ac:chgData name="Hoàng Thanh Tâm / VĨNH HOÀN / Chiến Lược" userId="94a8c68a-b754-4ef7-8609-838862aed947" providerId="ADAL" clId="{7E9FF501-B3CB-49B9-BF35-75000F776CCC}" dt="2022-05-10T06:36:47.918" v="580" actId="478"/>
          <ac:picMkLst>
            <pc:docMk/>
            <pc:sldMk cId="1585040284" sldId="555"/>
            <ac:picMk id="4" creationId="{E9411315-E9CD-1F05-6F35-1FB5B5B4E76C}"/>
          </ac:picMkLst>
        </pc:picChg>
        <pc:picChg chg="add del mod ord">
          <ac:chgData name="Hoàng Thanh Tâm / VĨNH HOÀN / Chiến Lược" userId="94a8c68a-b754-4ef7-8609-838862aed947" providerId="ADAL" clId="{7E9FF501-B3CB-49B9-BF35-75000F776CCC}" dt="2022-05-10T06:48:31.533" v="751" actId="478"/>
          <ac:picMkLst>
            <pc:docMk/>
            <pc:sldMk cId="1585040284" sldId="555"/>
            <ac:picMk id="5" creationId="{1D67680C-2A42-2FDD-B0FA-900A726D0805}"/>
          </ac:picMkLst>
        </pc:picChg>
        <pc:picChg chg="del mod">
          <ac:chgData name="Hoàng Thanh Tâm / VĨNH HOÀN / Chiến Lược" userId="94a8c68a-b754-4ef7-8609-838862aed947" providerId="ADAL" clId="{7E9FF501-B3CB-49B9-BF35-75000F776CCC}" dt="2022-05-09T15:01:17.627" v="13" actId="478"/>
          <ac:picMkLst>
            <pc:docMk/>
            <pc:sldMk cId="1585040284" sldId="555"/>
            <ac:picMk id="7" creationId="{78A60274-C554-4E27-8C76-28F19B288FFB}"/>
          </ac:picMkLst>
        </pc:picChg>
        <pc:picChg chg="add mod ord">
          <ac:chgData name="Hoàng Thanh Tâm / VĨNH HOÀN / Chiến Lược" userId="94a8c68a-b754-4ef7-8609-838862aed947" providerId="ADAL" clId="{7E9FF501-B3CB-49B9-BF35-75000F776CCC}" dt="2022-05-10T06:49:16.509" v="759" actId="1076"/>
          <ac:picMkLst>
            <pc:docMk/>
            <pc:sldMk cId="1585040284" sldId="555"/>
            <ac:picMk id="18" creationId="{3069B63E-BDCF-7B92-0DD7-C856D2C87434}"/>
          </ac:picMkLst>
        </pc:picChg>
        <pc:picChg chg="add del mod">
          <ac:chgData name="Hoàng Thanh Tâm / VĨNH HOÀN / Chiến Lược" userId="94a8c68a-b754-4ef7-8609-838862aed947" providerId="ADAL" clId="{7E9FF501-B3CB-49B9-BF35-75000F776CCC}" dt="2022-05-09T16:45:31.393" v="136"/>
          <ac:picMkLst>
            <pc:docMk/>
            <pc:sldMk cId="1585040284" sldId="555"/>
            <ac:picMk id="21" creationId="{0697B256-45D3-4273-ACF6-7E24BA164CBA}"/>
          </ac:picMkLst>
        </pc:picChg>
        <pc:cxnChg chg="del">
          <ac:chgData name="Hoàng Thanh Tâm / VĨNH HOÀN / Chiến Lược" userId="94a8c68a-b754-4ef7-8609-838862aed947" providerId="ADAL" clId="{7E9FF501-B3CB-49B9-BF35-75000F776CCC}" dt="2022-05-09T15:01:39.797" v="18" actId="478"/>
          <ac:cxnSpMkLst>
            <pc:docMk/>
            <pc:sldMk cId="1585040284" sldId="555"/>
            <ac:cxnSpMk id="16" creationId="{ACE7F725-C959-4C73-BEF6-5897171766AC}"/>
          </ac:cxnSpMkLst>
        </pc:cxnChg>
        <pc:cxnChg chg="del">
          <ac:chgData name="Hoàng Thanh Tâm / VĨNH HOÀN / Chiến Lược" userId="94a8c68a-b754-4ef7-8609-838862aed947" providerId="ADAL" clId="{7E9FF501-B3CB-49B9-BF35-75000F776CCC}" dt="2022-05-09T15:01:33.812" v="14" actId="478"/>
          <ac:cxnSpMkLst>
            <pc:docMk/>
            <pc:sldMk cId="1585040284" sldId="555"/>
            <ac:cxnSpMk id="17" creationId="{2E3EBD88-1D0F-4307-A4E2-E59FD44C1EC6}"/>
          </ac:cxnSpMkLst>
        </pc:cxnChg>
        <pc:cxnChg chg="del">
          <ac:chgData name="Hoàng Thanh Tâm / VĨNH HOÀN / Chiến Lược" userId="94a8c68a-b754-4ef7-8609-838862aed947" providerId="ADAL" clId="{7E9FF501-B3CB-49B9-BF35-75000F776CCC}" dt="2022-05-09T15:01:38.979" v="17" actId="478"/>
          <ac:cxnSpMkLst>
            <pc:docMk/>
            <pc:sldMk cId="1585040284" sldId="555"/>
            <ac:cxnSpMk id="18" creationId="{7077067F-81E7-40EC-9527-9BE0AE82D988}"/>
          </ac:cxnSpMkLst>
        </pc:cxnChg>
        <pc:cxnChg chg="del">
          <ac:chgData name="Hoàng Thanh Tâm / VĨNH HOÀN / Chiến Lược" userId="94a8c68a-b754-4ef7-8609-838862aed947" providerId="ADAL" clId="{7E9FF501-B3CB-49B9-BF35-75000F776CCC}" dt="2022-05-09T15:01:41.231" v="20" actId="478"/>
          <ac:cxnSpMkLst>
            <pc:docMk/>
            <pc:sldMk cId="1585040284" sldId="555"/>
            <ac:cxnSpMk id="19" creationId="{88AD11A8-31BE-471C-A09E-E1DAD0D7767D}"/>
          </ac:cxnSpMkLst>
        </pc:cxnChg>
        <pc:cxnChg chg="del">
          <ac:chgData name="Hoàng Thanh Tâm / VĨNH HOÀN / Chiến Lược" userId="94a8c68a-b754-4ef7-8609-838862aed947" providerId="ADAL" clId="{7E9FF501-B3CB-49B9-BF35-75000F776CCC}" dt="2022-05-09T15:01:40.494" v="19" actId="478"/>
          <ac:cxnSpMkLst>
            <pc:docMk/>
            <pc:sldMk cId="1585040284" sldId="555"/>
            <ac:cxnSpMk id="20" creationId="{08DED727-CD6A-4F80-B774-B31FD8EF9CA6}"/>
          </ac:cxnSpMkLst>
        </pc:cxnChg>
        <pc:cxnChg chg="del">
          <ac:chgData name="Hoàng Thanh Tâm / VĨNH HOÀN / Chiến Lược" userId="94a8c68a-b754-4ef7-8609-838862aed947" providerId="ADAL" clId="{7E9FF501-B3CB-49B9-BF35-75000F776CCC}" dt="2022-05-09T15:01:42.358" v="21" actId="478"/>
          <ac:cxnSpMkLst>
            <pc:docMk/>
            <pc:sldMk cId="1585040284" sldId="555"/>
            <ac:cxnSpMk id="21" creationId="{3749C403-2144-4EC8-AE59-774691EE19CA}"/>
          </ac:cxnSpMkLst>
        </pc:cxnChg>
        <pc:cxnChg chg="add del mod">
          <ac:chgData name="Hoàng Thanh Tâm / VĨNH HOÀN / Chiến Lược" userId="94a8c68a-b754-4ef7-8609-838862aed947" providerId="ADAL" clId="{7E9FF501-B3CB-49B9-BF35-75000F776CCC}" dt="2022-05-09T16:45:31.393" v="136"/>
          <ac:cxnSpMkLst>
            <pc:docMk/>
            <pc:sldMk cId="1585040284" sldId="555"/>
            <ac:cxnSpMk id="22" creationId="{26D6FE8B-F157-C108-0506-3AB29A309382}"/>
          </ac:cxnSpMkLst>
        </pc:cxnChg>
        <pc:cxnChg chg="del">
          <ac:chgData name="Hoàng Thanh Tâm / VĨNH HOÀN / Chiến Lược" userId="94a8c68a-b754-4ef7-8609-838862aed947" providerId="ADAL" clId="{7E9FF501-B3CB-49B9-BF35-75000F776CCC}" dt="2022-05-09T15:01:43.825" v="23" actId="478"/>
          <ac:cxnSpMkLst>
            <pc:docMk/>
            <pc:sldMk cId="1585040284" sldId="555"/>
            <ac:cxnSpMk id="22" creationId="{D7DB222B-48F1-45B6-9E83-8E9312FC8544}"/>
          </ac:cxnSpMkLst>
        </pc:cxnChg>
        <pc:cxnChg chg="del">
          <ac:chgData name="Hoàng Thanh Tâm / VĨNH HOÀN / Chiến Lược" userId="94a8c68a-b754-4ef7-8609-838862aed947" providerId="ADAL" clId="{7E9FF501-B3CB-49B9-BF35-75000F776CCC}" dt="2022-05-09T15:01:33.812" v="14" actId="478"/>
          <ac:cxnSpMkLst>
            <pc:docMk/>
            <pc:sldMk cId="1585040284" sldId="555"/>
            <ac:cxnSpMk id="23" creationId="{30FC9D05-B91D-481A-A0C9-6C0DBD807ED9}"/>
          </ac:cxnSpMkLst>
        </pc:cxnChg>
        <pc:cxnChg chg="add del mod">
          <ac:chgData name="Hoàng Thanh Tâm / VĨNH HOÀN / Chiến Lược" userId="94a8c68a-b754-4ef7-8609-838862aed947" providerId="ADAL" clId="{7E9FF501-B3CB-49B9-BF35-75000F776CCC}" dt="2022-05-09T16:45:31.393" v="136"/>
          <ac:cxnSpMkLst>
            <pc:docMk/>
            <pc:sldMk cId="1585040284" sldId="555"/>
            <ac:cxnSpMk id="23" creationId="{D24C10FF-3998-9B53-0341-4A8EBFEFDE51}"/>
          </ac:cxnSpMkLst>
        </pc:cxnChg>
        <pc:cxnChg chg="del">
          <ac:chgData name="Hoàng Thanh Tâm / VĨNH HOÀN / Chiến Lược" userId="94a8c68a-b754-4ef7-8609-838862aed947" providerId="ADAL" clId="{7E9FF501-B3CB-49B9-BF35-75000F776CCC}" dt="2022-05-09T15:01:43.136" v="22" actId="478"/>
          <ac:cxnSpMkLst>
            <pc:docMk/>
            <pc:sldMk cId="1585040284" sldId="555"/>
            <ac:cxnSpMk id="24" creationId="{C0CDF825-F400-4A40-A6A7-E372616262DE}"/>
          </ac:cxnSpMkLst>
        </pc:cxnChg>
        <pc:cxnChg chg="del">
          <ac:chgData name="Hoàng Thanh Tâm / VĨNH HOÀN / Chiến Lược" userId="94a8c68a-b754-4ef7-8609-838862aed947" providerId="ADAL" clId="{7E9FF501-B3CB-49B9-BF35-75000F776CCC}" dt="2022-05-09T15:01:33.812" v="14" actId="478"/>
          <ac:cxnSpMkLst>
            <pc:docMk/>
            <pc:sldMk cId="1585040284" sldId="555"/>
            <ac:cxnSpMk id="25" creationId="{0EA21D68-8AC6-43AB-919B-67E7D90FFB3F}"/>
          </ac:cxnSpMkLst>
        </pc:cxnChg>
        <pc:cxnChg chg="del">
          <ac:chgData name="Hoàng Thanh Tâm / VĨNH HOÀN / Chiến Lược" userId="94a8c68a-b754-4ef7-8609-838862aed947" providerId="ADAL" clId="{7E9FF501-B3CB-49B9-BF35-75000F776CCC}" dt="2022-05-09T15:01:44.437" v="24" actId="478"/>
          <ac:cxnSpMkLst>
            <pc:docMk/>
            <pc:sldMk cId="1585040284" sldId="555"/>
            <ac:cxnSpMk id="26" creationId="{C30D1181-8398-4A39-824B-7830A0382F67}"/>
          </ac:cxnSpMkLst>
        </pc:cxnChg>
        <pc:cxnChg chg="del">
          <ac:chgData name="Hoàng Thanh Tâm / VĨNH HOÀN / Chiến Lược" userId="94a8c68a-b754-4ef7-8609-838862aed947" providerId="ADAL" clId="{7E9FF501-B3CB-49B9-BF35-75000F776CCC}" dt="2022-05-09T15:01:45.011" v="25" actId="478"/>
          <ac:cxnSpMkLst>
            <pc:docMk/>
            <pc:sldMk cId="1585040284" sldId="555"/>
            <ac:cxnSpMk id="27" creationId="{C36EED14-27DD-4D1E-B9A6-AEA697A410D4}"/>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27" creationId="{CEAE793C-5AFB-89C8-3BF3-F4AC8FF0C745}"/>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28" creationId="{4A4C80D7-3EC8-53E9-086A-9C30D582B27E}"/>
          </ac:cxnSpMkLst>
        </pc:cxnChg>
        <pc:cxnChg chg="del">
          <ac:chgData name="Hoàng Thanh Tâm / VĨNH HOÀN / Chiến Lược" userId="94a8c68a-b754-4ef7-8609-838862aed947" providerId="ADAL" clId="{7E9FF501-B3CB-49B9-BF35-75000F776CCC}" dt="2022-05-09T15:01:48.851" v="30" actId="478"/>
          <ac:cxnSpMkLst>
            <pc:docMk/>
            <pc:sldMk cId="1585040284" sldId="555"/>
            <ac:cxnSpMk id="28" creationId="{F8525529-DF92-439D-8565-1964A8D7FF85}"/>
          </ac:cxnSpMkLst>
        </pc:cxnChg>
        <pc:cxnChg chg="del">
          <ac:chgData name="Hoàng Thanh Tâm / VĨNH HOÀN / Chiến Lược" userId="94a8c68a-b754-4ef7-8609-838862aed947" providerId="ADAL" clId="{7E9FF501-B3CB-49B9-BF35-75000F776CCC}" dt="2022-05-09T15:01:47.997" v="29" actId="478"/>
          <ac:cxnSpMkLst>
            <pc:docMk/>
            <pc:sldMk cId="1585040284" sldId="555"/>
            <ac:cxnSpMk id="29" creationId="{CD6A1DBF-E19E-4B02-BE2F-4FCC5B80153A}"/>
          </ac:cxnSpMkLst>
        </pc:cxnChg>
        <pc:cxnChg chg="del">
          <ac:chgData name="Hoàng Thanh Tâm / VĨNH HOÀN / Chiến Lược" userId="94a8c68a-b754-4ef7-8609-838862aed947" providerId="ADAL" clId="{7E9FF501-B3CB-49B9-BF35-75000F776CCC}" dt="2022-05-09T15:01:49.645" v="31" actId="478"/>
          <ac:cxnSpMkLst>
            <pc:docMk/>
            <pc:sldMk cId="1585040284" sldId="555"/>
            <ac:cxnSpMk id="30" creationId="{222F45EC-B4AC-4DA0-82DF-87D87305ED61}"/>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32" creationId="{994A070D-41B7-7DA4-B686-478F3C624FE6}"/>
          </ac:cxnSpMkLst>
        </pc:cxnChg>
        <pc:cxnChg chg="add mod">
          <ac:chgData name="Hoàng Thanh Tâm / VĨNH HOÀN / Chiến Lược" userId="94a8c68a-b754-4ef7-8609-838862aed947" providerId="ADAL" clId="{7E9FF501-B3CB-49B9-BF35-75000F776CCC}" dt="2022-05-10T06:40:50.083" v="594" actId="1076"/>
          <ac:cxnSpMkLst>
            <pc:docMk/>
            <pc:sldMk cId="1585040284" sldId="555"/>
            <ac:cxnSpMk id="33" creationId="{E645A9C6-A743-2AE0-C3E0-7E4517D2718E}"/>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35" creationId="{5589DFE5-0C9D-03DA-BF48-B2902018C4A6}"/>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36" creationId="{F6821F24-9DD5-B62F-5269-B97D24D2AC17}"/>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38" creationId="{1251DB2D-0361-F083-C8CD-2D31A6638D40}"/>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39" creationId="{FF4D8EA7-55E8-C7F8-33C7-5E9009DBB285}"/>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43" creationId="{87E00B64-A3A7-0FD4-08AC-1B0FF6E2EE70}"/>
          </ac:cxnSpMkLst>
        </pc:cxnChg>
        <pc:cxnChg chg="del">
          <ac:chgData name="Hoàng Thanh Tâm / VĨNH HOÀN / Chiến Lược" userId="94a8c68a-b754-4ef7-8609-838862aed947" providerId="ADAL" clId="{7E9FF501-B3CB-49B9-BF35-75000F776CCC}" dt="2022-05-09T15:02:09.338" v="49" actId="478"/>
          <ac:cxnSpMkLst>
            <pc:docMk/>
            <pc:sldMk cId="1585040284" sldId="555"/>
            <ac:cxnSpMk id="43" creationId="{9B218A14-FA44-47D7-B166-3643FA467910}"/>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44" creationId="{D619FD79-4AED-AC97-4C21-C8BBDE2D06D3}"/>
          </ac:cxnSpMkLst>
        </pc:cxnChg>
        <pc:cxnChg chg="del">
          <ac:chgData name="Hoàng Thanh Tâm / VĨNH HOÀN / Chiến Lược" userId="94a8c68a-b754-4ef7-8609-838862aed947" providerId="ADAL" clId="{7E9FF501-B3CB-49B9-BF35-75000F776CCC}" dt="2022-05-09T15:02:09.889" v="50" actId="478"/>
          <ac:cxnSpMkLst>
            <pc:docMk/>
            <pc:sldMk cId="1585040284" sldId="555"/>
            <ac:cxnSpMk id="44" creationId="{DA25E79F-B52F-4E10-8550-156BB05C5085}"/>
          </ac:cxnSpMkLst>
        </pc:cxnChg>
        <pc:cxnChg chg="del">
          <ac:chgData name="Hoàng Thanh Tâm / VĨNH HOÀN / Chiến Lược" userId="94a8c68a-b754-4ef7-8609-838862aed947" providerId="ADAL" clId="{7E9FF501-B3CB-49B9-BF35-75000F776CCC}" dt="2022-05-09T15:02:10.993" v="51" actId="478"/>
          <ac:cxnSpMkLst>
            <pc:docMk/>
            <pc:sldMk cId="1585040284" sldId="555"/>
            <ac:cxnSpMk id="45" creationId="{826D38C7-D564-4609-86C0-1853FDEE3392}"/>
          </ac:cxnSpMkLst>
        </pc:cxnChg>
        <pc:cxnChg chg="del">
          <ac:chgData name="Hoàng Thanh Tâm / VĨNH HOÀN / Chiến Lược" userId="94a8c68a-b754-4ef7-8609-838862aed947" providerId="ADAL" clId="{7E9FF501-B3CB-49B9-BF35-75000F776CCC}" dt="2022-05-09T15:02:07.234" v="46" actId="478"/>
          <ac:cxnSpMkLst>
            <pc:docMk/>
            <pc:sldMk cId="1585040284" sldId="555"/>
            <ac:cxnSpMk id="46" creationId="{35EFBB3A-D180-4B2D-85C6-9609E6330A8D}"/>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46" creationId="{615C993D-659E-305C-1903-88C33F3420C8}"/>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47" creationId="{48A308D4-01D4-4FE3-A9AA-CDFBF497411C}"/>
          </ac:cxnSpMkLst>
        </pc:cxnChg>
        <pc:cxnChg chg="del">
          <ac:chgData name="Hoàng Thanh Tâm / VĨNH HOÀN / Chiến Lược" userId="94a8c68a-b754-4ef7-8609-838862aed947" providerId="ADAL" clId="{7E9FF501-B3CB-49B9-BF35-75000F776CCC}" dt="2022-05-09T15:02:06.657" v="45" actId="478"/>
          <ac:cxnSpMkLst>
            <pc:docMk/>
            <pc:sldMk cId="1585040284" sldId="555"/>
            <ac:cxnSpMk id="47" creationId="{574F0BE7-6CE7-403F-A93D-28D2FC3821A2}"/>
          </ac:cxnSpMkLst>
        </pc:cxnChg>
        <pc:cxnChg chg="add mod">
          <ac:chgData name="Hoàng Thanh Tâm / VĨNH HOÀN / Chiến Lược" userId="94a8c68a-b754-4ef7-8609-838862aed947" providerId="ADAL" clId="{7E9FF501-B3CB-49B9-BF35-75000F776CCC}" dt="2022-05-10T06:42:47.403" v="616" actId="1076"/>
          <ac:cxnSpMkLst>
            <pc:docMk/>
            <pc:sldMk cId="1585040284" sldId="555"/>
            <ac:cxnSpMk id="48" creationId="{47023531-300C-B497-5A53-FA75C1C511FF}"/>
          </ac:cxnSpMkLst>
        </pc:cxnChg>
        <pc:cxnChg chg="del">
          <ac:chgData name="Hoàng Thanh Tâm / VĨNH HOÀN / Chiến Lược" userId="94a8c68a-b754-4ef7-8609-838862aed947" providerId="ADAL" clId="{7E9FF501-B3CB-49B9-BF35-75000F776CCC}" dt="2022-05-09T15:02:07.814" v="47" actId="478"/>
          <ac:cxnSpMkLst>
            <pc:docMk/>
            <pc:sldMk cId="1585040284" sldId="555"/>
            <ac:cxnSpMk id="48" creationId="{487604F2-A6CA-4CE0-A154-EE41463BB3DD}"/>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49" creationId="{3946BC67-E9FD-957A-606D-A0530442F5A9}"/>
          </ac:cxnSpMkLst>
        </pc:cxnChg>
        <pc:cxnChg chg="del">
          <ac:chgData name="Hoàng Thanh Tâm / VĨNH HOÀN / Chiến Lược" userId="94a8c68a-b754-4ef7-8609-838862aed947" providerId="ADAL" clId="{7E9FF501-B3CB-49B9-BF35-75000F776CCC}" dt="2022-05-09T15:02:02.327" v="42" actId="478"/>
          <ac:cxnSpMkLst>
            <pc:docMk/>
            <pc:sldMk cId="1585040284" sldId="555"/>
            <ac:cxnSpMk id="49" creationId="{8884C789-E0AC-4652-B09E-6C82C5796A57}"/>
          </ac:cxnSpMkLst>
        </pc:cxnChg>
        <pc:cxnChg chg="add mod">
          <ac:chgData name="Hoàng Thanh Tâm / VĨNH HOÀN / Chiến Lược" userId="94a8c68a-b754-4ef7-8609-838862aed947" providerId="ADAL" clId="{7E9FF501-B3CB-49B9-BF35-75000F776CCC}" dt="2022-05-10T06:42:47.403" v="616" actId="1076"/>
          <ac:cxnSpMkLst>
            <pc:docMk/>
            <pc:sldMk cId="1585040284" sldId="555"/>
            <ac:cxnSpMk id="49" creationId="{EDC31AC6-6294-F81A-115F-A0FED8CFB19D}"/>
          </ac:cxnSpMkLst>
        </pc:cxnChg>
        <pc:cxnChg chg="del">
          <ac:chgData name="Hoàng Thanh Tâm / VĨNH HOÀN / Chiến Lược" userId="94a8c68a-b754-4ef7-8609-838862aed947" providerId="ADAL" clId="{7E9FF501-B3CB-49B9-BF35-75000F776CCC}" dt="2022-05-09T15:02:01.622" v="41" actId="478"/>
          <ac:cxnSpMkLst>
            <pc:docMk/>
            <pc:sldMk cId="1585040284" sldId="555"/>
            <ac:cxnSpMk id="50" creationId="{2F4190E8-147C-4581-932F-5DF799892031}"/>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50" creationId="{9BFCC608-CD61-2B83-7110-7374DE84A6BE}"/>
          </ac:cxnSpMkLst>
        </pc:cxnChg>
        <pc:cxnChg chg="del">
          <ac:chgData name="Hoàng Thanh Tâm / VĨNH HOÀN / Chiến Lược" userId="94a8c68a-b754-4ef7-8609-838862aed947" providerId="ADAL" clId="{7E9FF501-B3CB-49B9-BF35-75000F776CCC}" dt="2022-05-09T15:02:00.996" v="40" actId="478"/>
          <ac:cxnSpMkLst>
            <pc:docMk/>
            <pc:sldMk cId="1585040284" sldId="555"/>
            <ac:cxnSpMk id="51" creationId="{C7069135-949E-4450-9F49-7D66AB7B915E}"/>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52" creationId="{5F9879CA-202C-B962-7DEB-0534E7A32F25}"/>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53" creationId="{975F92F1-447D-153A-0FBE-E71DD78A188E}"/>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55" creationId="{C78D0EA5-C4C7-61E6-665D-878126D48292}"/>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57" creationId="{D25A7944-2680-1C94-0129-DF7135B116DF}"/>
          </ac:cxnSpMkLst>
        </pc:cxnChg>
        <pc:cxnChg chg="add del mod">
          <ac:chgData name="Hoàng Thanh Tâm / VĨNH HOÀN / Chiến Lược" userId="94a8c68a-b754-4ef7-8609-838862aed947" providerId="ADAL" clId="{7E9FF501-B3CB-49B9-BF35-75000F776CCC}" dt="2022-05-09T16:56:18.592" v="232" actId="478"/>
          <ac:cxnSpMkLst>
            <pc:docMk/>
            <pc:sldMk cId="1585040284" sldId="555"/>
            <ac:cxnSpMk id="59" creationId="{09A145E8-BFBE-E045-0F17-BEB87683637A}"/>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61" creationId="{301534DA-3490-783A-575B-7381C5DB4935}"/>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62" creationId="{8B148435-721E-6218-C44A-AF8D5F6D5D53}"/>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67" creationId="{F6AAE64D-53D0-A0AA-8710-472C1410D249}"/>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68" creationId="{259EC0DB-CDB0-FF2F-F6CF-7210880CF038}"/>
          </ac:cxnSpMkLst>
        </pc:cxnChg>
        <pc:cxnChg chg="del">
          <ac:chgData name="Hoàng Thanh Tâm / VĨNH HOÀN / Chiến Lược" userId="94a8c68a-b754-4ef7-8609-838862aed947" providerId="ADAL" clId="{7E9FF501-B3CB-49B9-BF35-75000F776CCC}" dt="2022-05-09T15:01:51.259" v="33" actId="478"/>
          <ac:cxnSpMkLst>
            <pc:docMk/>
            <pc:sldMk cId="1585040284" sldId="555"/>
            <ac:cxnSpMk id="70" creationId="{3C9B7FF0-FE5C-408E-959A-C8F69F78B266}"/>
          </ac:cxnSpMkLst>
        </pc:cxnChg>
        <pc:cxnChg chg="add mod">
          <ac:chgData name="Hoàng Thanh Tâm / VĨNH HOÀN / Chiến Lược" userId="94a8c68a-b754-4ef7-8609-838862aed947" providerId="ADAL" clId="{7E9FF501-B3CB-49B9-BF35-75000F776CCC}" dt="2022-05-10T06:42:13.463" v="604" actId="1076"/>
          <ac:cxnSpMkLst>
            <pc:docMk/>
            <pc:sldMk cId="1585040284" sldId="555"/>
            <ac:cxnSpMk id="70" creationId="{4E66214B-5F54-2D90-8244-D12C86938293}"/>
          </ac:cxnSpMkLst>
        </pc:cxnChg>
        <pc:cxnChg chg="del">
          <ac:chgData name="Hoàng Thanh Tâm / VĨNH HOÀN / Chiến Lược" userId="94a8c68a-b754-4ef7-8609-838862aed947" providerId="ADAL" clId="{7E9FF501-B3CB-49B9-BF35-75000F776CCC}" dt="2022-05-09T15:01:50.277" v="32" actId="478"/>
          <ac:cxnSpMkLst>
            <pc:docMk/>
            <pc:sldMk cId="1585040284" sldId="555"/>
            <ac:cxnSpMk id="71" creationId="{2E5CD3F0-0E02-4681-A045-2CD180B4B8CB}"/>
          </ac:cxnSpMkLst>
        </pc:cxnChg>
        <pc:cxnChg chg="add mod">
          <ac:chgData name="Hoàng Thanh Tâm / VĨNH HOÀN / Chiến Lược" userId="94a8c68a-b754-4ef7-8609-838862aed947" providerId="ADAL" clId="{7E9FF501-B3CB-49B9-BF35-75000F776CCC}" dt="2022-05-10T06:42:13.463" v="604" actId="1076"/>
          <ac:cxnSpMkLst>
            <pc:docMk/>
            <pc:sldMk cId="1585040284" sldId="555"/>
            <ac:cxnSpMk id="71" creationId="{FE6C76ED-1A58-1042-9A30-83B8360D470E}"/>
          </ac:cxnSpMkLst>
        </pc:cxnChg>
        <pc:cxnChg chg="del">
          <ac:chgData name="Hoàng Thanh Tâm / VĨNH HOÀN / Chiến Lược" userId="94a8c68a-b754-4ef7-8609-838862aed947" providerId="ADAL" clId="{7E9FF501-B3CB-49B9-BF35-75000F776CCC}" dt="2022-05-09T15:01:52.232" v="34" actId="478"/>
          <ac:cxnSpMkLst>
            <pc:docMk/>
            <pc:sldMk cId="1585040284" sldId="555"/>
            <ac:cxnSpMk id="72" creationId="{0F73DDD3-E6E3-4804-B4F4-4C1DAB24B096}"/>
          </ac:cxnSpMkLst>
        </pc:cxnChg>
        <pc:cxnChg chg="add mod">
          <ac:chgData name="Hoàng Thanh Tâm / VĨNH HOÀN / Chiến Lược" userId="94a8c68a-b754-4ef7-8609-838862aed947" providerId="ADAL" clId="{7E9FF501-B3CB-49B9-BF35-75000F776CCC}" dt="2022-05-10T06:42:21.408" v="606" actId="14100"/>
          <ac:cxnSpMkLst>
            <pc:docMk/>
            <pc:sldMk cId="1585040284" sldId="555"/>
            <ac:cxnSpMk id="73" creationId="{45A91960-F7C3-5557-2452-269023704CD9}"/>
          </ac:cxnSpMkLst>
        </pc:cxnChg>
        <pc:cxnChg chg="del">
          <ac:chgData name="Hoàng Thanh Tâm / VĨNH HOÀN / Chiến Lược" userId="94a8c68a-b754-4ef7-8609-838862aed947" providerId="ADAL" clId="{7E9FF501-B3CB-49B9-BF35-75000F776CCC}" dt="2022-05-09T15:01:46.170" v="27" actId="478"/>
          <ac:cxnSpMkLst>
            <pc:docMk/>
            <pc:sldMk cId="1585040284" sldId="555"/>
            <ac:cxnSpMk id="74" creationId="{046CDD06-4C2A-48C4-9B16-4253BFFC78C8}"/>
          </ac:cxnSpMkLst>
        </pc:cxnChg>
        <pc:cxnChg chg="add mod">
          <ac:chgData name="Hoàng Thanh Tâm / VĨNH HOÀN / Chiến Lược" userId="94a8c68a-b754-4ef7-8609-838862aed947" providerId="ADAL" clId="{7E9FF501-B3CB-49B9-BF35-75000F776CCC}" dt="2022-05-10T06:42:21.408" v="606" actId="14100"/>
          <ac:cxnSpMkLst>
            <pc:docMk/>
            <pc:sldMk cId="1585040284" sldId="555"/>
            <ac:cxnSpMk id="74" creationId="{7E381D9D-A137-6751-628C-E0376DE47315}"/>
          </ac:cxnSpMkLst>
        </pc:cxnChg>
        <pc:cxnChg chg="del">
          <ac:chgData name="Hoàng Thanh Tâm / VĨNH HOÀN / Chiến Lược" userId="94a8c68a-b754-4ef7-8609-838862aed947" providerId="ADAL" clId="{7E9FF501-B3CB-49B9-BF35-75000F776CCC}" dt="2022-05-09T15:01:45.574" v="26" actId="478"/>
          <ac:cxnSpMkLst>
            <pc:docMk/>
            <pc:sldMk cId="1585040284" sldId="555"/>
            <ac:cxnSpMk id="75" creationId="{3E25CD32-6209-454F-814E-65AF451B4E16}"/>
          </ac:cxnSpMkLst>
        </pc:cxnChg>
        <pc:cxnChg chg="del">
          <ac:chgData name="Hoàng Thanh Tâm / VĨNH HOÀN / Chiến Lược" userId="94a8c68a-b754-4ef7-8609-838862aed947" providerId="ADAL" clId="{7E9FF501-B3CB-49B9-BF35-75000F776CCC}" dt="2022-05-09T15:01:46.919" v="28" actId="478"/>
          <ac:cxnSpMkLst>
            <pc:docMk/>
            <pc:sldMk cId="1585040284" sldId="555"/>
            <ac:cxnSpMk id="76" creationId="{5B7F9E2D-DEEE-4E55-80D4-9CEDF3B04F0C}"/>
          </ac:cxnSpMkLst>
        </pc:cxnChg>
        <pc:cxnChg chg="add mod">
          <ac:chgData name="Hoàng Thanh Tâm / VĨNH HOÀN / Chiến Lược" userId="94a8c68a-b754-4ef7-8609-838862aed947" providerId="ADAL" clId="{7E9FF501-B3CB-49B9-BF35-75000F776CCC}" dt="2022-05-10T06:49:25.003" v="760" actId="14100"/>
          <ac:cxnSpMkLst>
            <pc:docMk/>
            <pc:sldMk cId="1585040284" sldId="555"/>
            <ac:cxnSpMk id="78" creationId="{4660D335-3947-C851-930E-2E7DB645710A}"/>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79" creationId="{B7BB6F33-DF26-58F6-94CF-F07AAD78C54A}"/>
          </ac:cxnSpMkLst>
        </pc:cxnChg>
        <pc:cxnChg chg="add del mod">
          <ac:chgData name="Hoàng Thanh Tâm / VĨNH HOÀN / Chiến Lược" userId="94a8c68a-b754-4ef7-8609-838862aed947" providerId="ADAL" clId="{7E9FF501-B3CB-49B9-BF35-75000F776CCC}" dt="2022-05-09T15:05:01.719" v="74"/>
          <ac:cxnSpMkLst>
            <pc:docMk/>
            <pc:sldMk cId="1585040284" sldId="555"/>
            <ac:cxnSpMk id="81" creationId="{1350962F-F461-FA18-7AF7-53B089029090}"/>
          </ac:cxnSpMkLst>
        </pc:cxnChg>
        <pc:cxnChg chg="add mod">
          <ac:chgData name="Hoàng Thanh Tâm / VĨNH HOÀN / Chiến Lược" userId="94a8c68a-b754-4ef7-8609-838862aed947" providerId="ADAL" clId="{7E9FF501-B3CB-49B9-BF35-75000F776CCC}" dt="2022-05-10T06:42:29.477" v="608" actId="1076"/>
          <ac:cxnSpMkLst>
            <pc:docMk/>
            <pc:sldMk cId="1585040284" sldId="555"/>
            <ac:cxnSpMk id="81" creationId="{559BD359-BEA4-834C-1C1D-6CF6F3A89AB3}"/>
          </ac:cxnSpMkLst>
        </pc:cxnChg>
        <pc:cxnChg chg="add mod">
          <ac:chgData name="Hoàng Thanh Tâm / VĨNH HOÀN / Chiến Lược" userId="94a8c68a-b754-4ef7-8609-838862aed947" providerId="ADAL" clId="{7E9FF501-B3CB-49B9-BF35-75000F776CCC}" dt="2022-05-10T06:42:29.477" v="608" actId="1076"/>
          <ac:cxnSpMkLst>
            <pc:docMk/>
            <pc:sldMk cId="1585040284" sldId="555"/>
            <ac:cxnSpMk id="82" creationId="{1B078B5E-3EE7-DB1C-4C72-14633C36F17C}"/>
          </ac:cxnSpMkLst>
        </pc:cxnChg>
        <pc:cxnChg chg="add del mod">
          <ac:chgData name="Hoàng Thanh Tâm / VĨNH HOÀN / Chiến Lược" userId="94a8c68a-b754-4ef7-8609-838862aed947" providerId="ADAL" clId="{7E9FF501-B3CB-49B9-BF35-75000F776CCC}" dt="2022-05-09T15:05:01.719" v="74"/>
          <ac:cxnSpMkLst>
            <pc:docMk/>
            <pc:sldMk cId="1585040284" sldId="555"/>
            <ac:cxnSpMk id="82" creationId="{667C40E4-76F8-BD5E-238F-D6F680E94649}"/>
          </ac:cxnSpMkLst>
        </pc:cxnChg>
        <pc:cxnChg chg="add del mod">
          <ac:chgData name="Hoàng Thanh Tâm / VĨNH HOÀN / Chiến Lược" userId="94a8c68a-b754-4ef7-8609-838862aed947" providerId="ADAL" clId="{7E9FF501-B3CB-49B9-BF35-75000F776CCC}" dt="2022-05-09T15:05:01.368" v="73"/>
          <ac:cxnSpMkLst>
            <pc:docMk/>
            <pc:sldMk cId="1585040284" sldId="555"/>
            <ac:cxnSpMk id="84" creationId="{1CEBA219-CACE-04AA-E903-1733B8BAAF27}"/>
          </ac:cxnSpMkLst>
        </pc:cxnChg>
        <pc:cxnChg chg="add del mod">
          <ac:chgData name="Hoàng Thanh Tâm / VĨNH HOÀN / Chiến Lược" userId="94a8c68a-b754-4ef7-8609-838862aed947" providerId="ADAL" clId="{7E9FF501-B3CB-49B9-BF35-75000F776CCC}" dt="2022-05-09T15:05:01.368" v="73"/>
          <ac:cxnSpMkLst>
            <pc:docMk/>
            <pc:sldMk cId="1585040284" sldId="555"/>
            <ac:cxnSpMk id="85" creationId="{1D42B0AA-1F83-20A6-ACCB-9E2541F921EF}"/>
          </ac:cxnSpMkLst>
        </pc:cxnChg>
        <pc:cxnChg chg="add del mod">
          <ac:chgData name="Hoàng Thanh Tâm / VĨNH HOÀN / Chiến Lược" userId="94a8c68a-b754-4ef7-8609-838862aed947" providerId="ADAL" clId="{7E9FF501-B3CB-49B9-BF35-75000F776CCC}" dt="2022-05-09T15:05:01.164" v="72"/>
          <ac:cxnSpMkLst>
            <pc:docMk/>
            <pc:sldMk cId="1585040284" sldId="555"/>
            <ac:cxnSpMk id="87" creationId="{C5BC5D02-5F01-0836-A7E8-EE718E9F031E}"/>
          </ac:cxnSpMkLst>
        </pc:cxnChg>
        <pc:cxnChg chg="add del mod">
          <ac:chgData name="Hoàng Thanh Tâm / VĨNH HOÀN / Chiến Lược" userId="94a8c68a-b754-4ef7-8609-838862aed947" providerId="ADAL" clId="{7E9FF501-B3CB-49B9-BF35-75000F776CCC}" dt="2022-05-09T15:05:01.164" v="72"/>
          <ac:cxnSpMkLst>
            <pc:docMk/>
            <pc:sldMk cId="1585040284" sldId="555"/>
            <ac:cxnSpMk id="88" creationId="{8ADA6488-7480-E85D-83AA-E08A49FB5AF2}"/>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90" creationId="{54C9AFF0-96E7-4244-92C3-0C97950B88C9}"/>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91" creationId="{D68AE58E-978A-0AC8-0E9E-1152540295EF}"/>
          </ac:cxnSpMkLst>
        </pc:cxnChg>
        <pc:cxnChg chg="add del mod">
          <ac:chgData name="Hoàng Thanh Tâm / VĨNH HOÀN / Chiến Lược" userId="94a8c68a-b754-4ef7-8609-838862aed947" providerId="ADAL" clId="{7E9FF501-B3CB-49B9-BF35-75000F776CCC}" dt="2022-05-09T15:06:35.233" v="90"/>
          <ac:cxnSpMkLst>
            <pc:docMk/>
            <pc:sldMk cId="1585040284" sldId="555"/>
            <ac:cxnSpMk id="93" creationId="{20E0E34B-C99D-2CA4-A9C5-CFF19FB2018F}"/>
          </ac:cxnSpMkLst>
        </pc:cxnChg>
        <pc:cxnChg chg="add del mod">
          <ac:chgData name="Hoàng Thanh Tâm / VĨNH HOÀN / Chiến Lược" userId="94a8c68a-b754-4ef7-8609-838862aed947" providerId="ADAL" clId="{7E9FF501-B3CB-49B9-BF35-75000F776CCC}" dt="2022-05-09T15:06:35.233" v="90"/>
          <ac:cxnSpMkLst>
            <pc:docMk/>
            <pc:sldMk cId="1585040284" sldId="555"/>
            <ac:cxnSpMk id="94" creationId="{D21246BF-DC4B-66F6-B48C-F134F70EF7DE}"/>
          </ac:cxnSpMkLst>
        </pc:cxnChg>
        <pc:cxnChg chg="add del mod">
          <ac:chgData name="Hoàng Thanh Tâm / VĨNH HOÀN / Chiến Lược" userId="94a8c68a-b754-4ef7-8609-838862aed947" providerId="ADAL" clId="{7E9FF501-B3CB-49B9-BF35-75000F776CCC}" dt="2022-05-09T15:06:53.174" v="94"/>
          <ac:cxnSpMkLst>
            <pc:docMk/>
            <pc:sldMk cId="1585040284" sldId="555"/>
            <ac:cxnSpMk id="96" creationId="{0B7EF853-CB4F-CA42-F1FA-1B54E57A4256}"/>
          </ac:cxnSpMkLst>
        </pc:cxnChg>
        <pc:cxnChg chg="add del mod">
          <ac:chgData name="Hoàng Thanh Tâm / VĨNH HOÀN / Chiến Lược" userId="94a8c68a-b754-4ef7-8609-838862aed947" providerId="ADAL" clId="{7E9FF501-B3CB-49B9-BF35-75000F776CCC}" dt="2022-05-09T15:06:53.174" v="94"/>
          <ac:cxnSpMkLst>
            <pc:docMk/>
            <pc:sldMk cId="1585040284" sldId="555"/>
            <ac:cxnSpMk id="97" creationId="{E19BFA87-27B6-F8F7-2404-592D737EAEFF}"/>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99" creationId="{84A6401D-0B01-9A24-0DDF-92D4F6284EB9}"/>
          </ac:cxnSpMkLst>
        </pc:cxnChg>
        <pc:cxnChg chg="add mod">
          <ac:chgData name="Hoàng Thanh Tâm / VĨNH HOÀN / Chiến Lược" userId="94a8c68a-b754-4ef7-8609-838862aed947" providerId="ADAL" clId="{7E9FF501-B3CB-49B9-BF35-75000F776CCC}" dt="2022-05-10T06:43:50.230" v="657" actId="1076"/>
          <ac:cxnSpMkLst>
            <pc:docMk/>
            <pc:sldMk cId="1585040284" sldId="555"/>
            <ac:cxnSpMk id="101" creationId="{202BD64A-F2D1-96BA-A75F-DB5C096D85CE}"/>
          </ac:cxnSpMkLst>
        </pc:cxnChg>
      </pc:sldChg>
      <pc:sldChg chg="addSp delSp modSp add del mod">
        <pc:chgData name="Hoàng Thanh Tâm / VĨNH HOÀN / Chiến Lược" userId="94a8c68a-b754-4ef7-8609-838862aed947" providerId="ADAL" clId="{7E9FF501-B3CB-49B9-BF35-75000F776CCC}" dt="2022-05-10T06:48:22.608" v="750" actId="20577"/>
        <pc:sldMkLst>
          <pc:docMk/>
          <pc:sldMk cId="3041584205" sldId="556"/>
        </pc:sldMkLst>
        <pc:spChg chg="mod">
          <ac:chgData name="Hoàng Thanh Tâm / VĨNH HOÀN / Chiến Lược" userId="94a8c68a-b754-4ef7-8609-838862aed947" providerId="ADAL" clId="{7E9FF501-B3CB-49B9-BF35-75000F776CCC}" dt="2022-05-09T17:02:40.784" v="310" actId="20577"/>
          <ac:spMkLst>
            <pc:docMk/>
            <pc:sldMk cId="3041584205" sldId="556"/>
            <ac:spMk id="5" creationId="{BD055CBC-AA8A-43AC-ADCA-6704FA335D2A}"/>
          </ac:spMkLst>
        </pc:spChg>
        <pc:spChg chg="add mod">
          <ac:chgData name="Hoàng Thanh Tâm / VĨNH HOÀN / Chiến Lược" userId="94a8c68a-b754-4ef7-8609-838862aed947" providerId="ADAL" clId="{7E9FF501-B3CB-49B9-BF35-75000F776CCC}" dt="2022-05-10T06:45:51.782" v="664" actId="20577"/>
          <ac:spMkLst>
            <pc:docMk/>
            <pc:sldMk cId="3041584205" sldId="556"/>
            <ac:spMk id="50" creationId="{E38617CE-51AC-2D94-C6CB-9D5361D83E7E}"/>
          </ac:spMkLst>
        </pc:spChg>
        <pc:spChg chg="add mod">
          <ac:chgData name="Hoàng Thanh Tâm / VĨNH HOÀN / Chiến Lược" userId="94a8c68a-b754-4ef7-8609-838862aed947" providerId="ADAL" clId="{7E9FF501-B3CB-49B9-BF35-75000F776CCC}" dt="2022-05-10T06:46:00.558" v="669" actId="20577"/>
          <ac:spMkLst>
            <pc:docMk/>
            <pc:sldMk cId="3041584205" sldId="556"/>
            <ac:spMk id="53" creationId="{F77BD636-2FAB-024B-97CC-88C3B495299A}"/>
          </ac:spMkLst>
        </pc:spChg>
        <pc:spChg chg="add mod">
          <ac:chgData name="Hoàng Thanh Tâm / VĨNH HOÀN / Chiến Lược" userId="94a8c68a-b754-4ef7-8609-838862aed947" providerId="ADAL" clId="{7E9FF501-B3CB-49B9-BF35-75000F776CCC}" dt="2022-05-10T06:46:09.420" v="676" actId="20577"/>
          <ac:spMkLst>
            <pc:docMk/>
            <pc:sldMk cId="3041584205" sldId="556"/>
            <ac:spMk id="56" creationId="{9EE75605-E5D7-B5B4-78A8-84958983980C}"/>
          </ac:spMkLst>
        </pc:spChg>
        <pc:spChg chg="add mod">
          <ac:chgData name="Hoàng Thanh Tâm / VĨNH HOÀN / Chiến Lược" userId="94a8c68a-b754-4ef7-8609-838862aed947" providerId="ADAL" clId="{7E9FF501-B3CB-49B9-BF35-75000F776CCC}" dt="2022-05-10T06:46:17.446" v="682" actId="20577"/>
          <ac:spMkLst>
            <pc:docMk/>
            <pc:sldMk cId="3041584205" sldId="556"/>
            <ac:spMk id="59" creationId="{730B205D-BC26-4AF5-F17D-B9BC046C0ACC}"/>
          </ac:spMkLst>
        </pc:spChg>
        <pc:spChg chg="mod">
          <ac:chgData name="Hoàng Thanh Tâm / VĨNH HOÀN / Chiến Lược" userId="94a8c68a-b754-4ef7-8609-838862aed947" providerId="ADAL" clId="{7E9FF501-B3CB-49B9-BF35-75000F776CCC}" dt="2022-05-10T06:48:22.608" v="750" actId="20577"/>
          <ac:spMkLst>
            <pc:docMk/>
            <pc:sldMk cId="3041584205" sldId="556"/>
            <ac:spMk id="65" creationId="{FD88B804-860F-462E-B796-6E5D2D2FDA39}"/>
          </ac:spMkLst>
        </pc:spChg>
        <pc:spChg chg="add mod">
          <ac:chgData name="Hoàng Thanh Tâm / VĨNH HOÀN / Chiến Lược" userId="94a8c68a-b754-4ef7-8609-838862aed947" providerId="ADAL" clId="{7E9FF501-B3CB-49B9-BF35-75000F776CCC}" dt="2022-05-10T06:46:48.557" v="697" actId="20577"/>
          <ac:spMkLst>
            <pc:docMk/>
            <pc:sldMk cId="3041584205" sldId="556"/>
            <ac:spMk id="67" creationId="{7BFAC8FF-17DC-D75A-CA2E-53506EBF12B4}"/>
          </ac:spMkLst>
        </pc:spChg>
        <pc:spChg chg="add mod">
          <ac:chgData name="Hoàng Thanh Tâm / VĨNH HOÀN / Chiến Lược" userId="94a8c68a-b754-4ef7-8609-838862aed947" providerId="ADAL" clId="{7E9FF501-B3CB-49B9-BF35-75000F776CCC}" dt="2022-05-10T06:46:56.957" v="699" actId="20577"/>
          <ac:spMkLst>
            <pc:docMk/>
            <pc:sldMk cId="3041584205" sldId="556"/>
            <ac:spMk id="70" creationId="{5070FCEC-467E-F71B-FA2E-176F95E7D7F0}"/>
          </ac:spMkLst>
        </pc:spChg>
        <pc:spChg chg="add mod">
          <ac:chgData name="Hoàng Thanh Tâm / VĨNH HOÀN / Chiến Lược" userId="94a8c68a-b754-4ef7-8609-838862aed947" providerId="ADAL" clId="{7E9FF501-B3CB-49B9-BF35-75000F776CCC}" dt="2022-05-10T06:47:48.783" v="720" actId="20577"/>
          <ac:spMkLst>
            <pc:docMk/>
            <pc:sldMk cId="3041584205" sldId="556"/>
            <ac:spMk id="73" creationId="{6E87CFEF-758C-2AA5-2BAF-6A0F89976FB0}"/>
          </ac:spMkLst>
        </pc:spChg>
        <pc:spChg chg="add mod">
          <ac:chgData name="Hoàng Thanh Tâm / VĨNH HOÀN / Chiến Lược" userId="94a8c68a-b754-4ef7-8609-838862aed947" providerId="ADAL" clId="{7E9FF501-B3CB-49B9-BF35-75000F776CCC}" dt="2022-05-10T06:47:41.668" v="715" actId="20577"/>
          <ac:spMkLst>
            <pc:docMk/>
            <pc:sldMk cId="3041584205" sldId="556"/>
            <ac:spMk id="76" creationId="{B1683388-F848-B0AF-B3BE-C7414D8844F4}"/>
          </ac:spMkLst>
        </pc:spChg>
        <pc:spChg chg="del mod">
          <ac:chgData name="Hoàng Thanh Tâm / VĨNH HOÀN / Chiến Lược" userId="94a8c68a-b754-4ef7-8609-838862aed947" providerId="ADAL" clId="{7E9FF501-B3CB-49B9-BF35-75000F776CCC}" dt="2022-05-10T06:42:57.994" v="617" actId="478"/>
          <ac:spMkLst>
            <pc:docMk/>
            <pc:sldMk cId="3041584205" sldId="556"/>
            <ac:spMk id="77" creationId="{6F592628-2905-4412-8860-5A244FEE0C07}"/>
          </ac:spMkLst>
        </pc:spChg>
        <pc:spChg chg="del mod">
          <ac:chgData name="Hoàng Thanh Tâm / VĨNH HOÀN / Chiến Lược" userId="94a8c68a-b754-4ef7-8609-838862aed947" providerId="ADAL" clId="{7E9FF501-B3CB-49B9-BF35-75000F776CCC}" dt="2022-05-09T17:09:18.074" v="341" actId="478"/>
          <ac:spMkLst>
            <pc:docMk/>
            <pc:sldMk cId="3041584205" sldId="556"/>
            <ac:spMk id="78" creationId="{3007F2E0-5A63-4AFF-BD9A-2A351EE9D56A}"/>
          </ac:spMkLst>
        </pc:spChg>
        <pc:spChg chg="del mod">
          <ac:chgData name="Hoàng Thanh Tâm / VĨNH HOÀN / Chiến Lược" userId="94a8c68a-b754-4ef7-8609-838862aed947" providerId="ADAL" clId="{7E9FF501-B3CB-49B9-BF35-75000F776CCC}" dt="2022-05-09T17:09:21.871" v="346" actId="478"/>
          <ac:spMkLst>
            <pc:docMk/>
            <pc:sldMk cId="3041584205" sldId="556"/>
            <ac:spMk id="79" creationId="{5CC99CAE-6857-4B27-B1A5-3F576D240457}"/>
          </ac:spMkLst>
        </pc:spChg>
        <pc:spChg chg="add mod">
          <ac:chgData name="Hoàng Thanh Tâm / VĨNH HOÀN / Chiến Lược" userId="94a8c68a-b754-4ef7-8609-838862aed947" providerId="ADAL" clId="{7E9FF501-B3CB-49B9-BF35-75000F776CCC}" dt="2022-05-10T06:47:36.870" v="712" actId="20577"/>
          <ac:spMkLst>
            <pc:docMk/>
            <pc:sldMk cId="3041584205" sldId="556"/>
            <ac:spMk id="80" creationId="{3769E02A-6867-2832-CF96-C0B613E0C418}"/>
          </ac:spMkLst>
        </pc:spChg>
        <pc:spChg chg="del">
          <ac:chgData name="Hoàng Thanh Tâm / VĨNH HOÀN / Chiến Lược" userId="94a8c68a-b754-4ef7-8609-838862aed947" providerId="ADAL" clId="{7E9FF501-B3CB-49B9-BF35-75000F776CCC}" dt="2022-05-09T17:09:25.950" v="350" actId="478"/>
          <ac:spMkLst>
            <pc:docMk/>
            <pc:sldMk cId="3041584205" sldId="556"/>
            <ac:spMk id="80" creationId="{7E20EC72-C61F-4C2C-B0E3-ACDBF67CEA44}"/>
          </ac:spMkLst>
        </pc:spChg>
        <pc:spChg chg="del">
          <ac:chgData name="Hoàng Thanh Tâm / VĨNH HOÀN / Chiến Lược" userId="94a8c68a-b754-4ef7-8609-838862aed947" providerId="ADAL" clId="{7E9FF501-B3CB-49B9-BF35-75000F776CCC}" dt="2022-05-09T17:09:34.050" v="358" actId="478"/>
          <ac:spMkLst>
            <pc:docMk/>
            <pc:sldMk cId="3041584205" sldId="556"/>
            <ac:spMk id="81" creationId="{521B0264-9AAA-4A9A-9061-5970B7DD80FF}"/>
          </ac:spMkLst>
        </pc:spChg>
        <pc:spChg chg="add mod">
          <ac:chgData name="Hoàng Thanh Tâm / VĨNH HOÀN / Chiến Lược" userId="94a8c68a-b754-4ef7-8609-838862aed947" providerId="ADAL" clId="{7E9FF501-B3CB-49B9-BF35-75000F776CCC}" dt="2022-05-10T06:47:59.581" v="738" actId="20577"/>
          <ac:spMkLst>
            <pc:docMk/>
            <pc:sldMk cId="3041584205" sldId="556"/>
            <ac:spMk id="83" creationId="{62ADA9DA-ADF2-E7FA-DD97-1AA7C3747402}"/>
          </ac:spMkLst>
        </pc:spChg>
        <pc:spChg chg="add mod">
          <ac:chgData name="Hoàng Thanh Tâm / VĨNH HOÀN / Chiến Lược" userId="94a8c68a-b754-4ef7-8609-838862aed947" providerId="ADAL" clId="{7E9FF501-B3CB-49B9-BF35-75000F776CCC}" dt="2022-05-10T06:48:04.357" v="743" actId="20577"/>
          <ac:spMkLst>
            <pc:docMk/>
            <pc:sldMk cId="3041584205" sldId="556"/>
            <ac:spMk id="86" creationId="{2489D481-7EEC-FAC6-060A-777FBECCE478}"/>
          </ac:spMkLst>
        </pc:spChg>
        <pc:spChg chg="add mod">
          <ac:chgData name="Hoàng Thanh Tâm / VĨNH HOÀN / Chiến Lược" userId="94a8c68a-b754-4ef7-8609-838862aed947" providerId="ADAL" clId="{7E9FF501-B3CB-49B9-BF35-75000F776CCC}" dt="2022-05-10T06:48:08.984" v="748" actId="20577"/>
          <ac:spMkLst>
            <pc:docMk/>
            <pc:sldMk cId="3041584205" sldId="556"/>
            <ac:spMk id="89" creationId="{56723B93-107A-B160-C480-F437CFF1A216}"/>
          </ac:spMkLst>
        </pc:spChg>
        <pc:spChg chg="add mod">
          <ac:chgData name="Hoàng Thanh Tâm / VĨNH HOÀN / Chiến Lược" userId="94a8c68a-b754-4ef7-8609-838862aed947" providerId="ADAL" clId="{7E9FF501-B3CB-49B9-BF35-75000F776CCC}" dt="2022-05-10T06:46:39.982" v="691" actId="20577"/>
          <ac:spMkLst>
            <pc:docMk/>
            <pc:sldMk cId="3041584205" sldId="556"/>
            <ac:spMk id="91" creationId="{84278636-2DED-4A2B-8060-44E57090A565}"/>
          </ac:spMkLst>
        </pc:spChg>
        <pc:spChg chg="mod">
          <ac:chgData name="Hoàng Thanh Tâm / VĨNH HOÀN / Chiến Lược" userId="94a8c68a-b754-4ef7-8609-838862aed947" providerId="ADAL" clId="{7E9FF501-B3CB-49B9-BF35-75000F776CCC}" dt="2022-05-09T17:02:54.403" v="312" actId="6549"/>
          <ac:spMkLst>
            <pc:docMk/>
            <pc:sldMk cId="3041584205" sldId="556"/>
            <ac:spMk id="95" creationId="{D08A13D3-0589-4A99-9572-99B6FE4C8144}"/>
          </ac:spMkLst>
        </pc:spChg>
        <pc:spChg chg="del">
          <ac:chgData name="Hoàng Thanh Tâm / VĨNH HOÀN / Chiến Lược" userId="94a8c68a-b754-4ef7-8609-838862aed947" providerId="ADAL" clId="{7E9FF501-B3CB-49B9-BF35-75000F776CCC}" dt="2022-05-09T17:02:57.580" v="314" actId="478"/>
          <ac:spMkLst>
            <pc:docMk/>
            <pc:sldMk cId="3041584205" sldId="556"/>
            <ac:spMk id="96" creationId="{4FBE98C6-BC59-4593-AC9A-3422605A740C}"/>
          </ac:spMkLst>
        </pc:spChg>
        <pc:spChg chg="del mod">
          <ac:chgData name="Hoàng Thanh Tâm / VĨNH HOÀN / Chiến Lược" userId="94a8c68a-b754-4ef7-8609-838862aed947" providerId="ADAL" clId="{7E9FF501-B3CB-49B9-BF35-75000F776CCC}" dt="2022-05-09T17:03:02.071" v="319" actId="478"/>
          <ac:spMkLst>
            <pc:docMk/>
            <pc:sldMk cId="3041584205" sldId="556"/>
            <ac:spMk id="97" creationId="{01B99349-B9E9-481B-B383-6AE195B0800F}"/>
          </ac:spMkLst>
        </pc:spChg>
        <pc:spChg chg="del">
          <ac:chgData name="Hoàng Thanh Tâm / VĨNH HOÀN / Chiến Lược" userId="94a8c68a-b754-4ef7-8609-838862aed947" providerId="ADAL" clId="{7E9FF501-B3CB-49B9-BF35-75000F776CCC}" dt="2022-05-09T17:03:04.487" v="323" actId="478"/>
          <ac:spMkLst>
            <pc:docMk/>
            <pc:sldMk cId="3041584205" sldId="556"/>
            <ac:spMk id="98" creationId="{0DC44B96-A73F-498F-B9AB-745F5D5D6E27}"/>
          </ac:spMkLst>
        </pc:spChg>
        <pc:spChg chg="mod">
          <ac:chgData name="Hoàng Thanh Tâm / VĨNH HOÀN / Chiến Lược" userId="94a8c68a-b754-4ef7-8609-838862aed947" providerId="ADAL" clId="{7E9FF501-B3CB-49B9-BF35-75000F776CCC}" dt="2022-05-09T17:03:08.496" v="328" actId="6549"/>
          <ac:spMkLst>
            <pc:docMk/>
            <pc:sldMk cId="3041584205" sldId="556"/>
            <ac:spMk id="108" creationId="{DC63F147-E97A-4CC1-87D9-A9F9C87F14C4}"/>
          </ac:spMkLst>
        </pc:spChg>
        <pc:spChg chg="del">
          <ac:chgData name="Hoàng Thanh Tâm / VĨNH HOÀN / Chiến Lược" userId="94a8c68a-b754-4ef7-8609-838862aed947" providerId="ADAL" clId="{7E9FF501-B3CB-49B9-BF35-75000F776CCC}" dt="2022-05-09T17:09:30.547" v="354" actId="478"/>
          <ac:spMkLst>
            <pc:docMk/>
            <pc:sldMk cId="3041584205" sldId="556"/>
            <ac:spMk id="112" creationId="{7930F640-9985-4EB1-B00A-0607CC4186C4}"/>
          </ac:spMkLst>
        </pc:spChg>
        <pc:spChg chg="del">
          <ac:chgData name="Hoàng Thanh Tâm / VĨNH HOÀN / Chiến Lược" userId="94a8c68a-b754-4ef7-8609-838862aed947" providerId="ADAL" clId="{7E9FF501-B3CB-49B9-BF35-75000F776CCC}" dt="2022-05-09T17:09:37.880" v="362" actId="478"/>
          <ac:spMkLst>
            <pc:docMk/>
            <pc:sldMk cId="3041584205" sldId="556"/>
            <ac:spMk id="116" creationId="{B7EF0221-ED5D-45AA-B745-F0EFF82D8C5C}"/>
          </ac:spMkLst>
        </pc:spChg>
        <pc:spChg chg="add del mod">
          <ac:chgData name="Hoàng Thanh Tâm / VĨNH HOÀN / Chiến Lược" userId="94a8c68a-b754-4ef7-8609-838862aed947" providerId="ADAL" clId="{7E9FF501-B3CB-49B9-BF35-75000F776CCC}" dt="2022-05-10T06:43:00.995" v="620" actId="478"/>
          <ac:spMkLst>
            <pc:docMk/>
            <pc:sldMk cId="3041584205" sldId="556"/>
            <ac:spMk id="119" creationId="{D351A6E5-F0CF-763D-2213-B7BF3478DD22}"/>
          </ac:spMkLst>
        </pc:spChg>
        <pc:spChg chg="add del mod">
          <ac:chgData name="Hoàng Thanh Tâm / VĨNH HOÀN / Chiến Lược" userId="94a8c68a-b754-4ef7-8609-838862aed947" providerId="ADAL" clId="{7E9FF501-B3CB-49B9-BF35-75000F776CCC}" dt="2022-05-10T06:43:02.845" v="623" actId="478"/>
          <ac:spMkLst>
            <pc:docMk/>
            <pc:sldMk cId="3041584205" sldId="556"/>
            <ac:spMk id="122" creationId="{20DB7E45-97F1-5D3B-A7AC-339455DF4EF6}"/>
          </ac:spMkLst>
        </pc:spChg>
        <pc:spChg chg="add del mod">
          <ac:chgData name="Hoàng Thanh Tâm / VĨNH HOÀN / Chiến Lược" userId="94a8c68a-b754-4ef7-8609-838862aed947" providerId="ADAL" clId="{7E9FF501-B3CB-49B9-BF35-75000F776CCC}" dt="2022-05-10T06:43:05.833" v="627" actId="478"/>
          <ac:spMkLst>
            <pc:docMk/>
            <pc:sldMk cId="3041584205" sldId="556"/>
            <ac:spMk id="125" creationId="{BC1A0140-2CC5-43D7-0392-F97D9B78BA3B}"/>
          </ac:spMkLst>
        </pc:spChg>
        <pc:spChg chg="add del mod">
          <ac:chgData name="Hoàng Thanh Tâm / VĨNH HOÀN / Chiến Lược" userId="94a8c68a-b754-4ef7-8609-838862aed947" providerId="ADAL" clId="{7E9FF501-B3CB-49B9-BF35-75000F776CCC}" dt="2022-05-10T06:43:07.021" v="629" actId="478"/>
          <ac:spMkLst>
            <pc:docMk/>
            <pc:sldMk cId="3041584205" sldId="556"/>
            <ac:spMk id="128" creationId="{A8122C42-D68E-FDFF-D5CB-7C59C6504AB9}"/>
          </ac:spMkLst>
        </pc:spChg>
        <pc:spChg chg="add del mod">
          <ac:chgData name="Hoàng Thanh Tâm / VĨNH HOÀN / Chiến Lược" userId="94a8c68a-b754-4ef7-8609-838862aed947" providerId="ADAL" clId="{7E9FF501-B3CB-49B9-BF35-75000F776CCC}" dt="2022-05-09T17:14:03.311" v="389"/>
          <ac:spMkLst>
            <pc:docMk/>
            <pc:sldMk cId="3041584205" sldId="556"/>
            <ac:spMk id="131" creationId="{ADC503F8-C396-8283-21F7-AF607BE7325B}"/>
          </ac:spMkLst>
        </pc:spChg>
        <pc:spChg chg="add del mod">
          <ac:chgData name="Hoàng Thanh Tâm / VĨNH HOÀN / Chiến Lược" userId="94a8c68a-b754-4ef7-8609-838862aed947" providerId="ADAL" clId="{7E9FF501-B3CB-49B9-BF35-75000F776CCC}" dt="2022-05-10T06:43:10.894" v="632" actId="478"/>
          <ac:spMkLst>
            <pc:docMk/>
            <pc:sldMk cId="3041584205" sldId="556"/>
            <ac:spMk id="134" creationId="{AAA7342E-EA4F-D8CE-7E83-76F93F83C080}"/>
          </ac:spMkLst>
        </pc:spChg>
        <pc:spChg chg="add del mod">
          <ac:chgData name="Hoàng Thanh Tâm / VĨNH HOÀN / Chiến Lược" userId="94a8c68a-b754-4ef7-8609-838862aed947" providerId="ADAL" clId="{7E9FF501-B3CB-49B9-BF35-75000F776CCC}" dt="2022-05-09T17:14:21.018" v="397"/>
          <ac:spMkLst>
            <pc:docMk/>
            <pc:sldMk cId="3041584205" sldId="556"/>
            <ac:spMk id="137" creationId="{CB29DD6F-FEE0-7104-466D-31326EFD8099}"/>
          </ac:spMkLst>
        </pc:spChg>
        <pc:spChg chg="add del mod">
          <ac:chgData name="Hoàng Thanh Tâm / VĨNH HOÀN / Chiến Lược" userId="94a8c68a-b754-4ef7-8609-838862aed947" providerId="ADAL" clId="{7E9FF501-B3CB-49B9-BF35-75000F776CCC}" dt="2022-05-10T06:43:12.872" v="635" actId="478"/>
          <ac:spMkLst>
            <pc:docMk/>
            <pc:sldMk cId="3041584205" sldId="556"/>
            <ac:spMk id="140" creationId="{B6087AD8-BEFB-0BCB-11DD-241F6459FE1D}"/>
          </ac:spMkLst>
        </pc:spChg>
        <pc:spChg chg="add del mod">
          <ac:chgData name="Hoàng Thanh Tâm / VĨNH HOÀN / Chiến Lược" userId="94a8c68a-b754-4ef7-8609-838862aed947" providerId="ADAL" clId="{7E9FF501-B3CB-49B9-BF35-75000F776CCC}" dt="2022-05-10T06:43:27.735" v="654" actId="478"/>
          <ac:spMkLst>
            <pc:docMk/>
            <pc:sldMk cId="3041584205" sldId="556"/>
            <ac:spMk id="143" creationId="{E3894C37-48D5-1C6C-52F3-19A752202590}"/>
          </ac:spMkLst>
        </pc:spChg>
        <pc:spChg chg="add del mod">
          <ac:chgData name="Hoàng Thanh Tâm / VĨNH HOÀN / Chiến Lược" userId="94a8c68a-b754-4ef7-8609-838862aed947" providerId="ADAL" clId="{7E9FF501-B3CB-49B9-BF35-75000F776CCC}" dt="2022-05-10T06:43:25.483" v="651" actId="478"/>
          <ac:spMkLst>
            <pc:docMk/>
            <pc:sldMk cId="3041584205" sldId="556"/>
            <ac:spMk id="146" creationId="{39DE90B0-4C09-3E0D-C591-05AC292A43EC}"/>
          </ac:spMkLst>
        </pc:spChg>
        <pc:spChg chg="add del mod">
          <ac:chgData name="Hoàng Thanh Tâm / VĨNH HOÀN / Chiến Lược" userId="94a8c68a-b754-4ef7-8609-838862aed947" providerId="ADAL" clId="{7E9FF501-B3CB-49B9-BF35-75000F776CCC}" dt="2022-05-10T06:43:22.407" v="648" actId="478"/>
          <ac:spMkLst>
            <pc:docMk/>
            <pc:sldMk cId="3041584205" sldId="556"/>
            <ac:spMk id="149" creationId="{252DD06C-1F5A-C7F3-9490-3387EA072669}"/>
          </ac:spMkLst>
        </pc:spChg>
        <pc:spChg chg="add del mod">
          <ac:chgData name="Hoàng Thanh Tâm / VĨNH HOÀN / Chiến Lược" userId="94a8c68a-b754-4ef7-8609-838862aed947" providerId="ADAL" clId="{7E9FF501-B3CB-49B9-BF35-75000F776CCC}" dt="2022-05-10T06:43:20.408" v="645" actId="478"/>
          <ac:spMkLst>
            <pc:docMk/>
            <pc:sldMk cId="3041584205" sldId="556"/>
            <ac:spMk id="152" creationId="{5BD40422-A661-1D97-E337-995C20D09F73}"/>
          </ac:spMkLst>
        </pc:spChg>
        <pc:spChg chg="add del mod">
          <ac:chgData name="Hoàng Thanh Tâm / VĨNH HOÀN / Chiến Lược" userId="94a8c68a-b754-4ef7-8609-838862aed947" providerId="ADAL" clId="{7E9FF501-B3CB-49B9-BF35-75000F776CCC}" dt="2022-05-10T06:43:17.833" v="642" actId="478"/>
          <ac:spMkLst>
            <pc:docMk/>
            <pc:sldMk cId="3041584205" sldId="556"/>
            <ac:spMk id="155" creationId="{0F9FF076-9E2F-7E35-54A6-A9EBA6713F1F}"/>
          </ac:spMkLst>
        </pc:spChg>
        <pc:spChg chg="add del mod">
          <ac:chgData name="Hoàng Thanh Tâm / VĨNH HOÀN / Chiến Lược" userId="94a8c68a-b754-4ef7-8609-838862aed947" providerId="ADAL" clId="{7E9FF501-B3CB-49B9-BF35-75000F776CCC}" dt="2022-05-10T06:43:15.108" v="638" actId="478"/>
          <ac:spMkLst>
            <pc:docMk/>
            <pc:sldMk cId="3041584205" sldId="556"/>
            <ac:spMk id="158" creationId="{CF2D639B-8C7E-1299-14E2-356D04576719}"/>
          </ac:spMkLst>
        </pc:spChg>
        <pc:grpChg chg="del">
          <ac:chgData name="Hoàng Thanh Tâm / VĨNH HOÀN / Chiến Lược" userId="94a8c68a-b754-4ef7-8609-838862aed947" providerId="ADAL" clId="{7E9FF501-B3CB-49B9-BF35-75000F776CCC}" dt="2022-05-09T17:02:56.802" v="313" actId="478"/>
          <ac:grpSpMkLst>
            <pc:docMk/>
            <pc:sldMk cId="3041584205" sldId="556"/>
            <ac:grpSpMk id="91" creationId="{17E917BA-184B-43FC-8A09-B38A00912AD1}"/>
          </ac:grpSpMkLst>
        </pc:grpChg>
        <pc:grpChg chg="del">
          <ac:chgData name="Hoàng Thanh Tâm / VĨNH HOÀN / Chiến Lược" userId="94a8c68a-b754-4ef7-8609-838862aed947" providerId="ADAL" clId="{7E9FF501-B3CB-49B9-BF35-75000F776CCC}" dt="2022-05-09T17:03:07.079" v="327" actId="478"/>
          <ac:grpSpMkLst>
            <pc:docMk/>
            <pc:sldMk cId="3041584205" sldId="556"/>
            <ac:grpSpMk id="99" creationId="{650762E5-4038-4884-9C97-8F75612C38C0}"/>
          </ac:grpSpMkLst>
        </pc:grpChg>
        <pc:grpChg chg="del">
          <ac:chgData name="Hoàng Thanh Tâm / VĨNH HOÀN / Chiến Lược" userId="94a8c68a-b754-4ef7-8609-838862aed947" providerId="ADAL" clId="{7E9FF501-B3CB-49B9-BF35-75000F776CCC}" dt="2022-05-09T17:03:09.475" v="329" actId="478"/>
          <ac:grpSpMkLst>
            <pc:docMk/>
            <pc:sldMk cId="3041584205" sldId="556"/>
            <ac:grpSpMk id="104" creationId="{676C506C-8D96-4A8E-8640-B9F19B2BAA20}"/>
          </ac:grpSpMkLst>
        </pc:grpChg>
        <pc:picChg chg="add del mod ord">
          <ac:chgData name="Hoàng Thanh Tâm / VĨNH HOÀN / Chiến Lược" userId="94a8c68a-b754-4ef7-8609-838862aed947" providerId="ADAL" clId="{7E9FF501-B3CB-49B9-BF35-75000F776CCC}" dt="2022-05-09T17:09:14.962" v="339" actId="478"/>
          <ac:picMkLst>
            <pc:docMk/>
            <pc:sldMk cId="3041584205" sldId="556"/>
            <ac:picMk id="4" creationId="{E3AF9238-95C4-55BF-BF55-73B731BA738F}"/>
          </ac:picMkLst>
        </pc:picChg>
        <pc:picChg chg="del">
          <ac:chgData name="Hoàng Thanh Tâm / VĨNH HOÀN / Chiến Lược" userId="94a8c68a-b754-4ef7-8609-838862aed947" providerId="ADAL" clId="{7E9FF501-B3CB-49B9-BF35-75000F776CCC}" dt="2022-05-09T17:02:46.337" v="311" actId="478"/>
          <ac:picMkLst>
            <pc:docMk/>
            <pc:sldMk cId="3041584205" sldId="556"/>
            <ac:picMk id="6" creationId="{9189A284-A54C-457D-AF1D-AC31A6DFD105}"/>
          </ac:picMkLst>
        </pc:picChg>
        <pc:picChg chg="add del mod ord">
          <ac:chgData name="Hoàng Thanh Tâm / VĨNH HOÀN / Chiến Lược" userId="94a8c68a-b754-4ef7-8609-838862aed947" providerId="ADAL" clId="{7E9FF501-B3CB-49B9-BF35-75000F776CCC}" dt="2022-05-10T06:41:46.600" v="597" actId="478"/>
          <ac:picMkLst>
            <pc:docMk/>
            <pc:sldMk cId="3041584205" sldId="556"/>
            <ac:picMk id="8" creationId="{F4035EED-F209-C3DB-0D98-452F86DCC741}"/>
          </ac:picMkLst>
        </pc:picChg>
        <pc:picChg chg="add del mod">
          <ac:chgData name="Hoàng Thanh Tâm / VĨNH HOÀN / Chiến Lược" userId="94a8c68a-b754-4ef7-8609-838862aed947" providerId="ADAL" clId="{7E9FF501-B3CB-49B9-BF35-75000F776CCC}" dt="2022-05-10T06:41:51.681" v="600"/>
          <ac:picMkLst>
            <pc:docMk/>
            <pc:sldMk cId="3041584205" sldId="556"/>
            <ac:picMk id="46" creationId="{2C2EE800-EA02-5241-F44A-5FB67DBEBC47}"/>
          </ac:picMkLst>
        </pc:picChg>
        <pc:picChg chg="add mod">
          <ac:chgData name="Hoàng Thanh Tâm / VĨNH HOÀN / Chiến Lược" userId="94a8c68a-b754-4ef7-8609-838862aed947" providerId="ADAL" clId="{7E9FF501-B3CB-49B9-BF35-75000F776CCC}" dt="2022-05-10T06:44:10.607" v="660" actId="1076"/>
          <ac:picMkLst>
            <pc:docMk/>
            <pc:sldMk cId="3041584205" sldId="556"/>
            <ac:picMk id="47" creationId="{24C1A9EE-04F3-EAED-891D-D18343B384BC}"/>
          </ac:picMkLst>
        </pc:picChg>
        <pc:cxnChg chg="add mod">
          <ac:chgData name="Hoàng Thanh Tâm / VĨNH HOÀN / Chiến Lược" userId="94a8c68a-b754-4ef7-8609-838862aed947" providerId="ADAL" clId="{7E9FF501-B3CB-49B9-BF35-75000F776CCC}" dt="2022-05-10T06:44:10.607" v="660" actId="1076"/>
          <ac:cxnSpMkLst>
            <pc:docMk/>
            <pc:sldMk cId="3041584205" sldId="556"/>
            <ac:cxnSpMk id="48" creationId="{9B431B2A-00E7-4647-83B5-36B0A14E45B4}"/>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49" creationId="{6DF8F70A-A5D7-4B0C-DC1B-91F2833E21DF}"/>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51" creationId="{DAE37551-34B7-DB4C-3F07-A3CA35AF4990}"/>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52" creationId="{9EA946A4-928C-5443-CFCE-5C4856D623D5}"/>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54" creationId="{9830246E-85BF-345B-5D43-1E7EE30F2A13}"/>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55" creationId="{81E0D713-A3A3-C237-E8EA-215A14521F15}"/>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57" creationId="{80603BB5-46B4-2CDA-3A23-8235BE246357}"/>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58" creationId="{06AA0FA3-E716-A7BF-BE4F-5B69A3899816}"/>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60" creationId="{3EEF9D0C-D82C-4A3A-0441-FE6EFC5EAE43}"/>
          </ac:cxnSpMkLst>
        </pc:cxnChg>
        <pc:cxnChg chg="del">
          <ac:chgData name="Hoàng Thanh Tâm / VĨNH HOÀN / Chiến Lược" userId="94a8c68a-b754-4ef7-8609-838862aed947" providerId="ADAL" clId="{7E9FF501-B3CB-49B9-BF35-75000F776CCC}" dt="2022-05-09T17:09:50.001" v="367" actId="478"/>
          <ac:cxnSpMkLst>
            <pc:docMk/>
            <pc:sldMk cId="3041584205" sldId="556"/>
            <ac:cxnSpMk id="60" creationId="{4D498B09-1C59-4361-8E8F-B8778A245829}"/>
          </ac:cxnSpMkLst>
        </pc:cxnChg>
        <pc:cxnChg chg="del mod">
          <ac:chgData name="Hoàng Thanh Tâm / VĨNH HOÀN / Chiến Lược" userId="94a8c68a-b754-4ef7-8609-838862aed947" providerId="ADAL" clId="{7E9FF501-B3CB-49B9-BF35-75000F776CCC}" dt="2022-05-10T06:42:58.796" v="618" actId="478"/>
          <ac:cxnSpMkLst>
            <pc:docMk/>
            <pc:sldMk cId="3041584205" sldId="556"/>
            <ac:cxnSpMk id="61" creationId="{6D0695DB-33C5-4E81-BC0C-F275E38567BB}"/>
          </ac:cxnSpMkLst>
        </pc:cxnChg>
        <pc:cxnChg chg="del mod">
          <ac:chgData name="Hoàng Thanh Tâm / VĨNH HOÀN / Chiến Lược" userId="94a8c68a-b754-4ef7-8609-838862aed947" providerId="ADAL" clId="{7E9FF501-B3CB-49B9-BF35-75000F776CCC}" dt="2022-05-10T06:42:59.509" v="619" actId="478"/>
          <ac:cxnSpMkLst>
            <pc:docMk/>
            <pc:sldMk cId="3041584205" sldId="556"/>
            <ac:cxnSpMk id="62" creationId="{D55EA81B-09EC-40B7-B72B-354A241F921C}"/>
          </ac:cxnSpMkLst>
        </pc:cxnChg>
        <pc:cxnChg chg="del mod">
          <ac:chgData name="Hoàng Thanh Tâm / VĨNH HOÀN / Chiến Lược" userId="94a8c68a-b754-4ef7-8609-838862aed947" providerId="ADAL" clId="{7E9FF501-B3CB-49B9-BF35-75000F776CCC}" dt="2022-05-09T17:09:18.815" v="342" actId="478"/>
          <ac:cxnSpMkLst>
            <pc:docMk/>
            <pc:sldMk cId="3041584205" sldId="556"/>
            <ac:cxnSpMk id="63" creationId="{1A7F7E6E-FDE8-4B98-93A1-D159A6FCE67C}"/>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63" creationId="{465C5226-6397-25FE-563C-F3C875D8E7C4}"/>
          </ac:cxnSpMkLst>
        </pc:cxnChg>
        <pc:cxnChg chg="del">
          <ac:chgData name="Hoàng Thanh Tâm / VĨNH HOÀN / Chiến Lược" userId="94a8c68a-b754-4ef7-8609-838862aed947" providerId="ADAL" clId="{7E9FF501-B3CB-49B9-BF35-75000F776CCC}" dt="2022-05-09T17:09:19.291" v="343" actId="478"/>
          <ac:cxnSpMkLst>
            <pc:docMk/>
            <pc:sldMk cId="3041584205" sldId="556"/>
            <ac:cxnSpMk id="64" creationId="{183F0288-8AB5-4CB1-BD94-43F4575F33DA}"/>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64" creationId="{551FC943-FDFF-C386-0CC6-94C5EE1B80FF}"/>
          </ac:cxnSpMkLst>
        </pc:cxnChg>
        <pc:cxnChg chg="del">
          <ac:chgData name="Hoàng Thanh Tâm / VĨNH HOÀN / Chiến Lược" userId="94a8c68a-b754-4ef7-8609-838862aed947" providerId="ADAL" clId="{7E9FF501-B3CB-49B9-BF35-75000F776CCC}" dt="2022-05-09T17:09:20.058" v="344" actId="478"/>
          <ac:cxnSpMkLst>
            <pc:docMk/>
            <pc:sldMk cId="3041584205" sldId="556"/>
            <ac:cxnSpMk id="67" creationId="{EEC4EA37-AD11-4686-B063-3351599EED61}"/>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68" creationId="{D279E0E4-EAD7-1BE6-311D-19A5B8A26142}"/>
          </ac:cxnSpMkLst>
        </pc:cxnChg>
        <pc:cxnChg chg="del">
          <ac:chgData name="Hoàng Thanh Tâm / VĨNH HOÀN / Chiến Lược" userId="94a8c68a-b754-4ef7-8609-838862aed947" providerId="ADAL" clId="{7E9FF501-B3CB-49B9-BF35-75000F776CCC}" dt="2022-05-09T17:09:23.464" v="348" actId="478"/>
          <ac:cxnSpMkLst>
            <pc:docMk/>
            <pc:sldMk cId="3041584205" sldId="556"/>
            <ac:cxnSpMk id="68" creationId="{DCB1F984-84CF-4DC7-A668-30A4C3B5B53D}"/>
          </ac:cxnSpMkLst>
        </pc:cxnChg>
        <pc:cxnChg chg="del">
          <ac:chgData name="Hoàng Thanh Tâm / VĨNH HOÀN / Chiến Lược" userId="94a8c68a-b754-4ef7-8609-838862aed947" providerId="ADAL" clId="{7E9FF501-B3CB-49B9-BF35-75000F776CCC}" dt="2022-05-09T17:09:24.089" v="349" actId="478"/>
          <ac:cxnSpMkLst>
            <pc:docMk/>
            <pc:sldMk cId="3041584205" sldId="556"/>
            <ac:cxnSpMk id="69" creationId="{00B0BD6C-3644-4336-88B7-30C9352CB96F}"/>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69" creationId="{6A3749FC-569F-545E-4C28-C3D35D478044}"/>
          </ac:cxnSpMkLst>
        </pc:cxnChg>
        <pc:cxnChg chg="del">
          <ac:chgData name="Hoàng Thanh Tâm / VĨNH HOÀN / Chiến Lược" userId="94a8c68a-b754-4ef7-8609-838862aed947" providerId="ADAL" clId="{7E9FF501-B3CB-49B9-BF35-75000F776CCC}" dt="2022-05-09T17:09:22.476" v="347" actId="478"/>
          <ac:cxnSpMkLst>
            <pc:docMk/>
            <pc:sldMk cId="3041584205" sldId="556"/>
            <ac:cxnSpMk id="70" creationId="{26A4AA9F-F40D-477F-9D85-3D8E2B2C0FF8}"/>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71" creationId="{840A5B52-34A7-5F5C-E788-E5080DB13575}"/>
          </ac:cxnSpMkLst>
        </pc:cxnChg>
        <pc:cxnChg chg="del">
          <ac:chgData name="Hoàng Thanh Tâm / VĨNH HOÀN / Chiến Lược" userId="94a8c68a-b754-4ef7-8609-838862aed947" providerId="ADAL" clId="{7E9FF501-B3CB-49B9-BF35-75000F776CCC}" dt="2022-05-09T17:09:27.384" v="352" actId="478"/>
          <ac:cxnSpMkLst>
            <pc:docMk/>
            <pc:sldMk cId="3041584205" sldId="556"/>
            <ac:cxnSpMk id="71" creationId="{9A92A9F2-DA3B-4CBF-A1B0-30E9F746006B}"/>
          </ac:cxnSpMkLst>
        </pc:cxnChg>
        <pc:cxnChg chg="del">
          <ac:chgData name="Hoàng Thanh Tâm / VĨNH HOÀN / Chiến Lược" userId="94a8c68a-b754-4ef7-8609-838862aed947" providerId="ADAL" clId="{7E9FF501-B3CB-49B9-BF35-75000F776CCC}" dt="2022-05-09T17:09:26.570" v="351" actId="478"/>
          <ac:cxnSpMkLst>
            <pc:docMk/>
            <pc:sldMk cId="3041584205" sldId="556"/>
            <ac:cxnSpMk id="72" creationId="{B2BA3416-695C-48CA-8BCD-213425DEDC28}"/>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72" creationId="{D6D93D72-8693-25FA-DF53-1A77EE11CF56}"/>
          </ac:cxnSpMkLst>
        </pc:cxnChg>
        <pc:cxnChg chg="del">
          <ac:chgData name="Hoàng Thanh Tâm / VĨNH HOÀN / Chiến Lược" userId="94a8c68a-b754-4ef7-8609-838862aed947" providerId="ADAL" clId="{7E9FF501-B3CB-49B9-BF35-75000F776CCC}" dt="2022-05-09T17:09:28.301" v="353" actId="478"/>
          <ac:cxnSpMkLst>
            <pc:docMk/>
            <pc:sldMk cId="3041584205" sldId="556"/>
            <ac:cxnSpMk id="73" creationId="{0E933C94-B9CE-4319-AC62-0905DC35C9ED}"/>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74" creationId="{2ACB61CC-F7F0-DD1C-3C7F-3202E3989738}"/>
          </ac:cxnSpMkLst>
        </pc:cxnChg>
        <pc:cxnChg chg="del">
          <ac:chgData name="Hoàng Thanh Tâm / VĨNH HOÀN / Chiến Lược" userId="94a8c68a-b754-4ef7-8609-838862aed947" providerId="ADAL" clId="{7E9FF501-B3CB-49B9-BF35-75000F776CCC}" dt="2022-05-09T17:09:35.807" v="360" actId="478"/>
          <ac:cxnSpMkLst>
            <pc:docMk/>
            <pc:sldMk cId="3041584205" sldId="556"/>
            <ac:cxnSpMk id="74" creationId="{C6FB1394-EE48-4B55-B0B3-4ED5BC735C0F}"/>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75" creationId="{4D4E90E4-8BF7-9433-CE22-3512ED92C817}"/>
          </ac:cxnSpMkLst>
        </pc:cxnChg>
        <pc:cxnChg chg="del">
          <ac:chgData name="Hoàng Thanh Tâm / VĨNH HOÀN / Chiến Lược" userId="94a8c68a-b754-4ef7-8609-838862aed947" providerId="ADAL" clId="{7E9FF501-B3CB-49B9-BF35-75000F776CCC}" dt="2022-05-09T17:09:34.856" v="359" actId="478"/>
          <ac:cxnSpMkLst>
            <pc:docMk/>
            <pc:sldMk cId="3041584205" sldId="556"/>
            <ac:cxnSpMk id="75" creationId="{5A2AC8C5-AC41-4174-94DB-D24F7C0E7CCD}"/>
          </ac:cxnSpMkLst>
        </pc:cxnChg>
        <pc:cxnChg chg="del">
          <ac:chgData name="Hoàng Thanh Tâm / VĨNH HOÀN / Chiến Lược" userId="94a8c68a-b754-4ef7-8609-838862aed947" providerId="ADAL" clId="{7E9FF501-B3CB-49B9-BF35-75000F776CCC}" dt="2022-05-09T17:09:36.393" v="361" actId="478"/>
          <ac:cxnSpMkLst>
            <pc:docMk/>
            <pc:sldMk cId="3041584205" sldId="556"/>
            <ac:cxnSpMk id="76" creationId="{59F576B8-C695-4D3A-9C6C-FA079D847534}"/>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78" creationId="{124BBFE4-E439-8B3C-710C-429357945D76}"/>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79" creationId="{C0BFC3B4-B01E-3329-F4E2-50BEF095EA31}"/>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81" creationId="{E068FF75-5FFA-2EFA-DD2E-A0E73AB4A865}"/>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82" creationId="{9B8BA1B0-3DA8-D927-0FF1-817786C0DCB5}"/>
          </ac:cxnSpMkLst>
        </pc:cxnChg>
        <pc:cxnChg chg="del">
          <ac:chgData name="Hoàng Thanh Tâm / VĨNH HOÀN / Chiến Lược" userId="94a8c68a-b754-4ef7-8609-838862aed947" providerId="ADAL" clId="{7E9FF501-B3CB-49B9-BF35-75000F776CCC}" dt="2022-05-09T17:02:59.076" v="316" actId="478"/>
          <ac:cxnSpMkLst>
            <pc:docMk/>
            <pc:sldMk cId="3041584205" sldId="556"/>
            <ac:cxnSpMk id="82" creationId="{F1E1AE82-0284-4F17-9F87-3EC9D8F1215D}"/>
          </ac:cxnSpMkLst>
        </pc:cxnChg>
        <pc:cxnChg chg="del">
          <ac:chgData name="Hoàng Thanh Tâm / VĨNH HOÀN / Chiến Lược" userId="94a8c68a-b754-4ef7-8609-838862aed947" providerId="ADAL" clId="{7E9FF501-B3CB-49B9-BF35-75000F776CCC}" dt="2022-05-09T17:02:58.352" v="315" actId="478"/>
          <ac:cxnSpMkLst>
            <pc:docMk/>
            <pc:sldMk cId="3041584205" sldId="556"/>
            <ac:cxnSpMk id="83" creationId="{CA7D9A6D-073B-4C0D-9D56-0BE5489DFD51}"/>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84" creationId="{1C06F518-286D-C958-D546-4ABB337BA8B6}"/>
          </ac:cxnSpMkLst>
        </pc:cxnChg>
        <pc:cxnChg chg="del">
          <ac:chgData name="Hoàng Thanh Tâm / VĨNH HOÀN / Chiến Lược" userId="94a8c68a-b754-4ef7-8609-838862aed947" providerId="ADAL" clId="{7E9FF501-B3CB-49B9-BF35-75000F776CCC}" dt="2022-05-09T17:02:59.606" v="317" actId="478"/>
          <ac:cxnSpMkLst>
            <pc:docMk/>
            <pc:sldMk cId="3041584205" sldId="556"/>
            <ac:cxnSpMk id="84" creationId="{6127D61E-D3C8-4569-A0E0-EF5DF0E21885}"/>
          </ac:cxnSpMkLst>
        </pc:cxnChg>
        <pc:cxnChg chg="del">
          <ac:chgData name="Hoàng Thanh Tâm / VĨNH HOÀN / Chiến Lược" userId="94a8c68a-b754-4ef7-8609-838862aed947" providerId="ADAL" clId="{7E9FF501-B3CB-49B9-BF35-75000F776CCC}" dt="2022-05-09T17:03:03.882" v="322" actId="478"/>
          <ac:cxnSpMkLst>
            <pc:docMk/>
            <pc:sldMk cId="3041584205" sldId="556"/>
            <ac:cxnSpMk id="85" creationId="{56A1AB73-39A3-48D9-AA21-194D389046D1}"/>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85" creationId="{83DADEC9-7A44-EC82-1BFE-5A30550F325C}"/>
          </ac:cxnSpMkLst>
        </pc:cxnChg>
        <pc:cxnChg chg="del">
          <ac:chgData name="Hoàng Thanh Tâm / VĨNH HOÀN / Chiến Lược" userId="94a8c68a-b754-4ef7-8609-838862aed947" providerId="ADAL" clId="{7E9FF501-B3CB-49B9-BF35-75000F776CCC}" dt="2022-05-09T17:03:03.380" v="321" actId="478"/>
          <ac:cxnSpMkLst>
            <pc:docMk/>
            <pc:sldMk cId="3041584205" sldId="556"/>
            <ac:cxnSpMk id="86" creationId="{888A2EEF-3CA4-4B78-BE4C-F23B2D06B953}"/>
          </ac:cxnSpMkLst>
        </pc:cxnChg>
        <pc:cxnChg chg="del">
          <ac:chgData name="Hoàng Thanh Tâm / VĨNH HOÀN / Chiến Lược" userId="94a8c68a-b754-4ef7-8609-838862aed947" providerId="ADAL" clId="{7E9FF501-B3CB-49B9-BF35-75000F776CCC}" dt="2022-05-09T17:03:02.706" v="320" actId="478"/>
          <ac:cxnSpMkLst>
            <pc:docMk/>
            <pc:sldMk cId="3041584205" sldId="556"/>
            <ac:cxnSpMk id="87" creationId="{6D321471-977D-4844-962F-0B7E85FC1B2F}"/>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87" creationId="{A87A1008-1A45-D240-E1CE-A62CEC31283E}"/>
          </ac:cxnSpMkLst>
        </pc:cxnChg>
        <pc:cxnChg chg="add mod">
          <ac:chgData name="Hoàng Thanh Tâm / VĨNH HOÀN / Chiến Lược" userId="94a8c68a-b754-4ef7-8609-838862aed947" providerId="ADAL" clId="{7E9FF501-B3CB-49B9-BF35-75000F776CCC}" dt="2022-05-10T06:44:10.607" v="660" actId="1076"/>
          <ac:cxnSpMkLst>
            <pc:docMk/>
            <pc:sldMk cId="3041584205" sldId="556"/>
            <ac:cxnSpMk id="88" creationId="{69990A44-891E-3D4E-49AC-0392309C46CA}"/>
          </ac:cxnSpMkLst>
        </pc:cxnChg>
        <pc:cxnChg chg="del">
          <ac:chgData name="Hoàng Thanh Tâm / VĨNH HOÀN / Chiến Lược" userId="94a8c68a-b754-4ef7-8609-838862aed947" providerId="ADAL" clId="{7E9FF501-B3CB-49B9-BF35-75000F776CCC}" dt="2022-05-09T17:03:06.375" v="326" actId="478"/>
          <ac:cxnSpMkLst>
            <pc:docMk/>
            <pc:sldMk cId="3041584205" sldId="556"/>
            <ac:cxnSpMk id="88" creationId="{D5BFA40B-63DA-4A25-9B5F-5CC8C0823B86}"/>
          </ac:cxnSpMkLst>
        </pc:cxnChg>
        <pc:cxnChg chg="del">
          <ac:chgData name="Hoàng Thanh Tâm / VĨNH HOÀN / Chiến Lược" userId="94a8c68a-b754-4ef7-8609-838862aed947" providerId="ADAL" clId="{7E9FF501-B3CB-49B9-BF35-75000F776CCC}" dt="2022-05-09T17:03:05.136" v="324" actId="478"/>
          <ac:cxnSpMkLst>
            <pc:docMk/>
            <pc:sldMk cId="3041584205" sldId="556"/>
            <ac:cxnSpMk id="89" creationId="{742532A6-7EA7-4D88-88C4-6CD08B0B1E63}"/>
          </ac:cxnSpMkLst>
        </pc:cxnChg>
        <pc:cxnChg chg="add mod">
          <ac:chgData name="Hoàng Thanh Tâm / VĨNH HOÀN / Chiến Lược" userId="94a8c68a-b754-4ef7-8609-838862aed947" providerId="ADAL" clId="{7E9FF501-B3CB-49B9-BF35-75000F776CCC}" dt="2022-05-10T06:46:29.526" v="684" actId="1076"/>
          <ac:cxnSpMkLst>
            <pc:docMk/>
            <pc:sldMk cId="3041584205" sldId="556"/>
            <ac:cxnSpMk id="90" creationId="{18395BD7-ADDD-A666-74D0-88BDF11A0A46}"/>
          </ac:cxnSpMkLst>
        </pc:cxnChg>
        <pc:cxnChg chg="del">
          <ac:chgData name="Hoàng Thanh Tâm / VĨNH HOÀN / Chiến Lược" userId="94a8c68a-b754-4ef7-8609-838862aed947" providerId="ADAL" clId="{7E9FF501-B3CB-49B9-BF35-75000F776CCC}" dt="2022-05-09T17:03:05.673" v="325" actId="478"/>
          <ac:cxnSpMkLst>
            <pc:docMk/>
            <pc:sldMk cId="3041584205" sldId="556"/>
            <ac:cxnSpMk id="90" creationId="{ADC96394-A4F1-44B0-BE03-2BCF4EE73487}"/>
          </ac:cxnSpMkLst>
        </pc:cxnChg>
        <pc:cxnChg chg="del">
          <ac:chgData name="Hoàng Thanh Tâm / VĨNH HOÀN / Chiến Lược" userId="94a8c68a-b754-4ef7-8609-838862aed947" providerId="ADAL" clId="{7E9FF501-B3CB-49B9-BF35-75000F776CCC}" dt="2022-05-09T17:09:32.189" v="356" actId="478"/>
          <ac:cxnSpMkLst>
            <pc:docMk/>
            <pc:sldMk cId="3041584205" sldId="556"/>
            <ac:cxnSpMk id="109" creationId="{41794D08-DD1A-4561-B79C-713C8B9BEB29}"/>
          </ac:cxnSpMkLst>
        </pc:cxnChg>
        <pc:cxnChg chg="del">
          <ac:chgData name="Hoàng Thanh Tâm / VĨNH HOÀN / Chiến Lược" userId="94a8c68a-b754-4ef7-8609-838862aed947" providerId="ADAL" clId="{7E9FF501-B3CB-49B9-BF35-75000F776CCC}" dt="2022-05-09T17:09:31.582" v="355" actId="478"/>
          <ac:cxnSpMkLst>
            <pc:docMk/>
            <pc:sldMk cId="3041584205" sldId="556"/>
            <ac:cxnSpMk id="110" creationId="{DC304F17-3503-4A54-9795-D4F34AA610D4}"/>
          </ac:cxnSpMkLst>
        </pc:cxnChg>
        <pc:cxnChg chg="del">
          <ac:chgData name="Hoàng Thanh Tâm / VĨNH HOÀN / Chiến Lược" userId="94a8c68a-b754-4ef7-8609-838862aed947" providerId="ADAL" clId="{7E9FF501-B3CB-49B9-BF35-75000F776CCC}" dt="2022-05-09T17:09:33.319" v="357" actId="478"/>
          <ac:cxnSpMkLst>
            <pc:docMk/>
            <pc:sldMk cId="3041584205" sldId="556"/>
            <ac:cxnSpMk id="111" creationId="{1380B4FB-1569-47F1-8990-563BA6F62B63}"/>
          </ac:cxnSpMkLst>
        </pc:cxnChg>
        <pc:cxnChg chg="del">
          <ac:chgData name="Hoàng Thanh Tâm / VĨNH HOÀN / Chiến Lược" userId="94a8c68a-b754-4ef7-8609-838862aed947" providerId="ADAL" clId="{7E9FF501-B3CB-49B9-BF35-75000F776CCC}" dt="2022-05-09T17:09:39.864" v="364" actId="478"/>
          <ac:cxnSpMkLst>
            <pc:docMk/>
            <pc:sldMk cId="3041584205" sldId="556"/>
            <ac:cxnSpMk id="113" creationId="{F12454E0-8722-452C-B4D0-8893A2727BDF}"/>
          </ac:cxnSpMkLst>
        </pc:cxnChg>
        <pc:cxnChg chg="del">
          <ac:chgData name="Hoàng Thanh Tâm / VĨNH HOÀN / Chiến Lược" userId="94a8c68a-b754-4ef7-8609-838862aed947" providerId="ADAL" clId="{7E9FF501-B3CB-49B9-BF35-75000F776CCC}" dt="2022-05-09T17:09:38.836" v="363" actId="478"/>
          <ac:cxnSpMkLst>
            <pc:docMk/>
            <pc:sldMk cId="3041584205" sldId="556"/>
            <ac:cxnSpMk id="114" creationId="{25614B54-7DC0-4138-8122-F420D19317E9}"/>
          </ac:cxnSpMkLst>
        </pc:cxnChg>
        <pc:cxnChg chg="del">
          <ac:chgData name="Hoàng Thanh Tâm / VĨNH HOÀN / Chiến Lược" userId="94a8c68a-b754-4ef7-8609-838862aed947" providerId="ADAL" clId="{7E9FF501-B3CB-49B9-BF35-75000F776CCC}" dt="2022-05-09T17:09:40.349" v="365" actId="478"/>
          <ac:cxnSpMkLst>
            <pc:docMk/>
            <pc:sldMk cId="3041584205" sldId="556"/>
            <ac:cxnSpMk id="115" creationId="{34D85156-2B77-464B-840C-82BF4F562EB3}"/>
          </ac:cxnSpMkLst>
        </pc:cxnChg>
        <pc:cxnChg chg="add del mod">
          <ac:chgData name="Hoàng Thanh Tâm / VĨNH HOÀN / Chiến Lược" userId="94a8c68a-b754-4ef7-8609-838862aed947" providerId="ADAL" clId="{7E9FF501-B3CB-49B9-BF35-75000F776CCC}" dt="2022-05-10T06:43:01.631" v="621" actId="478"/>
          <ac:cxnSpMkLst>
            <pc:docMk/>
            <pc:sldMk cId="3041584205" sldId="556"/>
            <ac:cxnSpMk id="117" creationId="{EBB7ABB4-4CFF-219F-AC1C-C5181A40093B}"/>
          </ac:cxnSpMkLst>
        </pc:cxnChg>
        <pc:cxnChg chg="add del mod">
          <ac:chgData name="Hoàng Thanh Tâm / VĨNH HOÀN / Chiến Lược" userId="94a8c68a-b754-4ef7-8609-838862aed947" providerId="ADAL" clId="{7E9FF501-B3CB-49B9-BF35-75000F776CCC}" dt="2022-05-10T06:43:02.122" v="622" actId="478"/>
          <ac:cxnSpMkLst>
            <pc:docMk/>
            <pc:sldMk cId="3041584205" sldId="556"/>
            <ac:cxnSpMk id="118" creationId="{773C599F-4829-5699-D659-2F8A3557A449}"/>
          </ac:cxnSpMkLst>
        </pc:cxnChg>
        <pc:cxnChg chg="add del mod">
          <ac:chgData name="Hoàng Thanh Tâm / VĨNH HOÀN / Chiến Lược" userId="94a8c68a-b754-4ef7-8609-838862aed947" providerId="ADAL" clId="{7E9FF501-B3CB-49B9-BF35-75000F776CCC}" dt="2022-05-10T06:43:03.443" v="624" actId="478"/>
          <ac:cxnSpMkLst>
            <pc:docMk/>
            <pc:sldMk cId="3041584205" sldId="556"/>
            <ac:cxnSpMk id="120" creationId="{39CBC484-9569-27BE-CF86-79616510B5ED}"/>
          </ac:cxnSpMkLst>
        </pc:cxnChg>
        <pc:cxnChg chg="add del mod">
          <ac:chgData name="Hoàng Thanh Tâm / VĨNH HOÀN / Chiến Lược" userId="94a8c68a-b754-4ef7-8609-838862aed947" providerId="ADAL" clId="{7E9FF501-B3CB-49B9-BF35-75000F776CCC}" dt="2022-05-10T06:43:04.157" v="625" actId="478"/>
          <ac:cxnSpMkLst>
            <pc:docMk/>
            <pc:sldMk cId="3041584205" sldId="556"/>
            <ac:cxnSpMk id="121" creationId="{9F358E3E-683D-3C2E-4FA8-9CDDBE97544D}"/>
          </ac:cxnSpMkLst>
        </pc:cxnChg>
        <pc:cxnChg chg="add del mod">
          <ac:chgData name="Hoàng Thanh Tâm / VĨNH HOÀN / Chiến Lược" userId="94a8c68a-b754-4ef7-8609-838862aed947" providerId="ADAL" clId="{7E9FF501-B3CB-49B9-BF35-75000F776CCC}" dt="2022-05-10T06:43:04.782" v="626" actId="478"/>
          <ac:cxnSpMkLst>
            <pc:docMk/>
            <pc:sldMk cId="3041584205" sldId="556"/>
            <ac:cxnSpMk id="123" creationId="{23B19832-AC2C-52DD-DBF5-569EB6215F1B}"/>
          </ac:cxnSpMkLst>
        </pc:cxnChg>
        <pc:cxnChg chg="add del mod">
          <ac:chgData name="Hoàng Thanh Tâm / VĨNH HOÀN / Chiến Lược" userId="94a8c68a-b754-4ef7-8609-838862aed947" providerId="ADAL" clId="{7E9FF501-B3CB-49B9-BF35-75000F776CCC}" dt="2022-05-10T06:43:06.409" v="628" actId="478"/>
          <ac:cxnSpMkLst>
            <pc:docMk/>
            <pc:sldMk cId="3041584205" sldId="556"/>
            <ac:cxnSpMk id="124" creationId="{55093414-2D9E-67B7-6326-B5C5AB8EAEA1}"/>
          </ac:cxnSpMkLst>
        </pc:cxnChg>
        <pc:cxnChg chg="add del mod">
          <ac:chgData name="Hoàng Thanh Tâm / VĨNH HOÀN / Chiến Lược" userId="94a8c68a-b754-4ef7-8609-838862aed947" providerId="ADAL" clId="{7E9FF501-B3CB-49B9-BF35-75000F776CCC}" dt="2022-05-10T06:43:07.644" v="630" actId="478"/>
          <ac:cxnSpMkLst>
            <pc:docMk/>
            <pc:sldMk cId="3041584205" sldId="556"/>
            <ac:cxnSpMk id="126" creationId="{C306F632-8462-8A5F-CDBD-99266288CF36}"/>
          </ac:cxnSpMkLst>
        </pc:cxnChg>
        <pc:cxnChg chg="add del mod">
          <ac:chgData name="Hoàng Thanh Tâm / VĨNH HOÀN / Chiến Lược" userId="94a8c68a-b754-4ef7-8609-838862aed947" providerId="ADAL" clId="{7E9FF501-B3CB-49B9-BF35-75000F776CCC}" dt="2022-05-10T06:43:08.333" v="631" actId="478"/>
          <ac:cxnSpMkLst>
            <pc:docMk/>
            <pc:sldMk cId="3041584205" sldId="556"/>
            <ac:cxnSpMk id="127" creationId="{1F7A07E4-765D-EF16-E207-2787C8C9EDF3}"/>
          </ac:cxnSpMkLst>
        </pc:cxnChg>
        <pc:cxnChg chg="add del mod">
          <ac:chgData name="Hoàng Thanh Tâm / VĨNH HOÀN / Chiến Lược" userId="94a8c68a-b754-4ef7-8609-838862aed947" providerId="ADAL" clId="{7E9FF501-B3CB-49B9-BF35-75000F776CCC}" dt="2022-05-09T17:14:03.311" v="389"/>
          <ac:cxnSpMkLst>
            <pc:docMk/>
            <pc:sldMk cId="3041584205" sldId="556"/>
            <ac:cxnSpMk id="129" creationId="{ED031D60-30F5-2AA7-4077-5371BF932805}"/>
          </ac:cxnSpMkLst>
        </pc:cxnChg>
        <pc:cxnChg chg="add del mod">
          <ac:chgData name="Hoàng Thanh Tâm / VĨNH HOÀN / Chiến Lược" userId="94a8c68a-b754-4ef7-8609-838862aed947" providerId="ADAL" clId="{7E9FF501-B3CB-49B9-BF35-75000F776CCC}" dt="2022-05-09T17:14:03.311" v="389"/>
          <ac:cxnSpMkLst>
            <pc:docMk/>
            <pc:sldMk cId="3041584205" sldId="556"/>
            <ac:cxnSpMk id="130" creationId="{A048BAC1-343C-5422-BDBD-0AE571B1A42C}"/>
          </ac:cxnSpMkLst>
        </pc:cxnChg>
        <pc:cxnChg chg="add del mod">
          <ac:chgData name="Hoàng Thanh Tâm / VĨNH HOÀN / Chiến Lược" userId="94a8c68a-b754-4ef7-8609-838862aed947" providerId="ADAL" clId="{7E9FF501-B3CB-49B9-BF35-75000F776CCC}" dt="2022-05-10T06:43:11.645" v="633" actId="478"/>
          <ac:cxnSpMkLst>
            <pc:docMk/>
            <pc:sldMk cId="3041584205" sldId="556"/>
            <ac:cxnSpMk id="132" creationId="{5EFAD36F-73A6-6B03-43E7-4617870D8FD4}"/>
          </ac:cxnSpMkLst>
        </pc:cxnChg>
        <pc:cxnChg chg="add del mod">
          <ac:chgData name="Hoàng Thanh Tâm / VĨNH HOÀN / Chiến Lược" userId="94a8c68a-b754-4ef7-8609-838862aed947" providerId="ADAL" clId="{7E9FF501-B3CB-49B9-BF35-75000F776CCC}" dt="2022-05-10T06:43:12.320" v="634" actId="478"/>
          <ac:cxnSpMkLst>
            <pc:docMk/>
            <pc:sldMk cId="3041584205" sldId="556"/>
            <ac:cxnSpMk id="133" creationId="{8930D0E2-2FF8-D08C-0C9D-8B70114B54C4}"/>
          </ac:cxnSpMkLst>
        </pc:cxnChg>
        <pc:cxnChg chg="add del mod">
          <ac:chgData name="Hoàng Thanh Tâm / VĨNH HOÀN / Chiến Lược" userId="94a8c68a-b754-4ef7-8609-838862aed947" providerId="ADAL" clId="{7E9FF501-B3CB-49B9-BF35-75000F776CCC}" dt="2022-05-09T17:14:21.018" v="397"/>
          <ac:cxnSpMkLst>
            <pc:docMk/>
            <pc:sldMk cId="3041584205" sldId="556"/>
            <ac:cxnSpMk id="135" creationId="{61A33DF6-F2F5-277F-69E6-0BE4A3900E2C}"/>
          </ac:cxnSpMkLst>
        </pc:cxnChg>
        <pc:cxnChg chg="add del mod">
          <ac:chgData name="Hoàng Thanh Tâm / VĨNH HOÀN / Chiến Lược" userId="94a8c68a-b754-4ef7-8609-838862aed947" providerId="ADAL" clId="{7E9FF501-B3CB-49B9-BF35-75000F776CCC}" dt="2022-05-09T17:14:21.018" v="397"/>
          <ac:cxnSpMkLst>
            <pc:docMk/>
            <pc:sldMk cId="3041584205" sldId="556"/>
            <ac:cxnSpMk id="136" creationId="{E3C29A9F-000C-2290-3DF9-52B3AD4913CD}"/>
          </ac:cxnSpMkLst>
        </pc:cxnChg>
        <pc:cxnChg chg="add del mod">
          <ac:chgData name="Hoàng Thanh Tâm / VĨNH HOÀN / Chiến Lược" userId="94a8c68a-b754-4ef7-8609-838862aed947" providerId="ADAL" clId="{7E9FF501-B3CB-49B9-BF35-75000F776CCC}" dt="2022-05-10T06:43:13.757" v="636" actId="478"/>
          <ac:cxnSpMkLst>
            <pc:docMk/>
            <pc:sldMk cId="3041584205" sldId="556"/>
            <ac:cxnSpMk id="138" creationId="{0383DA40-59CF-1A44-F2F3-0F46EABCF84E}"/>
          </ac:cxnSpMkLst>
        </pc:cxnChg>
        <pc:cxnChg chg="add del mod">
          <ac:chgData name="Hoàng Thanh Tâm / VĨNH HOÀN / Chiến Lược" userId="94a8c68a-b754-4ef7-8609-838862aed947" providerId="ADAL" clId="{7E9FF501-B3CB-49B9-BF35-75000F776CCC}" dt="2022-05-10T06:43:14.519" v="637" actId="478"/>
          <ac:cxnSpMkLst>
            <pc:docMk/>
            <pc:sldMk cId="3041584205" sldId="556"/>
            <ac:cxnSpMk id="139" creationId="{1377C5C4-9A93-1E74-C949-8F1476D10ED4}"/>
          </ac:cxnSpMkLst>
        </pc:cxnChg>
        <pc:cxnChg chg="add del mod">
          <ac:chgData name="Hoàng Thanh Tâm / VĨNH HOÀN / Chiến Lược" userId="94a8c68a-b754-4ef7-8609-838862aed947" providerId="ADAL" clId="{7E9FF501-B3CB-49B9-BF35-75000F776CCC}" dt="2022-05-10T06:43:29.183" v="656" actId="478"/>
          <ac:cxnSpMkLst>
            <pc:docMk/>
            <pc:sldMk cId="3041584205" sldId="556"/>
            <ac:cxnSpMk id="141" creationId="{9423E815-0097-24C2-0584-95273FC9A5B2}"/>
          </ac:cxnSpMkLst>
        </pc:cxnChg>
        <pc:cxnChg chg="add del mod">
          <ac:chgData name="Hoàng Thanh Tâm / VĨNH HOÀN / Chiến Lược" userId="94a8c68a-b754-4ef7-8609-838862aed947" providerId="ADAL" clId="{7E9FF501-B3CB-49B9-BF35-75000F776CCC}" dt="2022-05-10T06:43:28.483" v="655" actId="478"/>
          <ac:cxnSpMkLst>
            <pc:docMk/>
            <pc:sldMk cId="3041584205" sldId="556"/>
            <ac:cxnSpMk id="142" creationId="{BF2EFB89-17C9-EAF9-49FD-246D4FE7190F}"/>
          </ac:cxnSpMkLst>
        </pc:cxnChg>
        <pc:cxnChg chg="add del mod">
          <ac:chgData name="Hoàng Thanh Tâm / VĨNH HOÀN / Chiến Lược" userId="94a8c68a-b754-4ef7-8609-838862aed947" providerId="ADAL" clId="{7E9FF501-B3CB-49B9-BF35-75000F776CCC}" dt="2022-05-10T06:43:26.920" v="653" actId="478"/>
          <ac:cxnSpMkLst>
            <pc:docMk/>
            <pc:sldMk cId="3041584205" sldId="556"/>
            <ac:cxnSpMk id="144" creationId="{906DAD22-B89E-E8BF-C95A-5A35679359B3}"/>
          </ac:cxnSpMkLst>
        </pc:cxnChg>
        <pc:cxnChg chg="add del mod">
          <ac:chgData name="Hoàng Thanh Tâm / VĨNH HOÀN / Chiến Lược" userId="94a8c68a-b754-4ef7-8609-838862aed947" providerId="ADAL" clId="{7E9FF501-B3CB-49B9-BF35-75000F776CCC}" dt="2022-05-10T06:43:26.234" v="652" actId="478"/>
          <ac:cxnSpMkLst>
            <pc:docMk/>
            <pc:sldMk cId="3041584205" sldId="556"/>
            <ac:cxnSpMk id="145" creationId="{367E6497-33DB-42F2-9AD8-4D283D789C41}"/>
          </ac:cxnSpMkLst>
        </pc:cxnChg>
        <pc:cxnChg chg="add del mod">
          <ac:chgData name="Hoàng Thanh Tâm / VĨNH HOÀN / Chiến Lược" userId="94a8c68a-b754-4ef7-8609-838862aed947" providerId="ADAL" clId="{7E9FF501-B3CB-49B9-BF35-75000F776CCC}" dt="2022-05-10T06:43:23.545" v="650" actId="478"/>
          <ac:cxnSpMkLst>
            <pc:docMk/>
            <pc:sldMk cId="3041584205" sldId="556"/>
            <ac:cxnSpMk id="147" creationId="{6AE0E920-344F-3F07-E498-1C14E88AA99E}"/>
          </ac:cxnSpMkLst>
        </pc:cxnChg>
        <pc:cxnChg chg="add del mod">
          <ac:chgData name="Hoàng Thanh Tâm / VĨNH HOÀN / Chiến Lược" userId="94a8c68a-b754-4ef7-8609-838862aed947" providerId="ADAL" clId="{7E9FF501-B3CB-49B9-BF35-75000F776CCC}" dt="2022-05-10T06:43:22.970" v="649" actId="478"/>
          <ac:cxnSpMkLst>
            <pc:docMk/>
            <pc:sldMk cId="3041584205" sldId="556"/>
            <ac:cxnSpMk id="148" creationId="{BF066B7C-EC65-84C8-E352-52C00E82B992}"/>
          </ac:cxnSpMkLst>
        </pc:cxnChg>
        <pc:cxnChg chg="add del mod">
          <ac:chgData name="Hoàng Thanh Tâm / VĨNH HOÀN / Chiến Lược" userId="94a8c68a-b754-4ef7-8609-838862aed947" providerId="ADAL" clId="{7E9FF501-B3CB-49B9-BF35-75000F776CCC}" dt="2022-05-10T06:43:21.870" v="647" actId="478"/>
          <ac:cxnSpMkLst>
            <pc:docMk/>
            <pc:sldMk cId="3041584205" sldId="556"/>
            <ac:cxnSpMk id="150" creationId="{C8F65191-E1D2-C194-4DCD-83B2136FF42F}"/>
          </ac:cxnSpMkLst>
        </pc:cxnChg>
        <pc:cxnChg chg="add del mod">
          <ac:chgData name="Hoàng Thanh Tâm / VĨNH HOÀN / Chiến Lược" userId="94a8c68a-b754-4ef7-8609-838862aed947" providerId="ADAL" clId="{7E9FF501-B3CB-49B9-BF35-75000F776CCC}" dt="2022-05-10T06:43:21.257" v="646" actId="478"/>
          <ac:cxnSpMkLst>
            <pc:docMk/>
            <pc:sldMk cId="3041584205" sldId="556"/>
            <ac:cxnSpMk id="151" creationId="{49AC4AE3-78D7-1B8A-0F04-696ADBD01092}"/>
          </ac:cxnSpMkLst>
        </pc:cxnChg>
        <pc:cxnChg chg="add del mod">
          <ac:chgData name="Hoàng Thanh Tâm / VĨNH HOÀN / Chiến Lược" userId="94a8c68a-b754-4ef7-8609-838862aed947" providerId="ADAL" clId="{7E9FF501-B3CB-49B9-BF35-75000F776CCC}" dt="2022-05-10T06:43:19.120" v="644" actId="478"/>
          <ac:cxnSpMkLst>
            <pc:docMk/>
            <pc:sldMk cId="3041584205" sldId="556"/>
            <ac:cxnSpMk id="153" creationId="{A19D19B2-FEC7-D3C9-BE68-490D0092EB54}"/>
          </ac:cxnSpMkLst>
        </pc:cxnChg>
        <pc:cxnChg chg="add del mod">
          <ac:chgData name="Hoàng Thanh Tâm / VĨNH HOÀN / Chiến Lược" userId="94a8c68a-b754-4ef7-8609-838862aed947" providerId="ADAL" clId="{7E9FF501-B3CB-49B9-BF35-75000F776CCC}" dt="2022-05-10T06:43:18.458" v="643" actId="478"/>
          <ac:cxnSpMkLst>
            <pc:docMk/>
            <pc:sldMk cId="3041584205" sldId="556"/>
            <ac:cxnSpMk id="154" creationId="{D5677341-CF32-91E2-29DD-C477BB3117C3}"/>
          </ac:cxnSpMkLst>
        </pc:cxnChg>
        <pc:cxnChg chg="add del mod">
          <ac:chgData name="Hoàng Thanh Tâm / VĨNH HOÀN / Chiến Lược" userId="94a8c68a-b754-4ef7-8609-838862aed947" providerId="ADAL" clId="{7E9FF501-B3CB-49B9-BF35-75000F776CCC}" dt="2022-05-10T06:43:16.545" v="640" actId="478"/>
          <ac:cxnSpMkLst>
            <pc:docMk/>
            <pc:sldMk cId="3041584205" sldId="556"/>
            <ac:cxnSpMk id="156" creationId="{419239D5-3FF5-D3BE-83F2-696E96C6A565}"/>
          </ac:cxnSpMkLst>
        </pc:cxnChg>
        <pc:cxnChg chg="add del mod">
          <ac:chgData name="Hoàng Thanh Tâm / VĨNH HOÀN / Chiến Lược" userId="94a8c68a-b754-4ef7-8609-838862aed947" providerId="ADAL" clId="{7E9FF501-B3CB-49B9-BF35-75000F776CCC}" dt="2022-05-10T06:43:15.695" v="639" actId="478"/>
          <ac:cxnSpMkLst>
            <pc:docMk/>
            <pc:sldMk cId="3041584205" sldId="556"/>
            <ac:cxnSpMk id="157" creationId="{385E3485-7442-106C-F4D1-FD2D5C27AC4D}"/>
          </ac:cxnSpMkLst>
        </pc:cxnChg>
      </pc:sldChg>
      <pc:sldChg chg="new del">
        <pc:chgData name="Hoàng Thanh Tâm / VĨNH HOÀN / Chiến Lược" userId="94a8c68a-b754-4ef7-8609-838862aed947" providerId="ADAL" clId="{7E9FF501-B3CB-49B9-BF35-75000F776CCC}" dt="2022-05-09T17:02:35.914" v="307" actId="47"/>
        <pc:sldMkLst>
          <pc:docMk/>
          <pc:sldMk cId="2795326311" sldId="567"/>
        </pc:sldMkLst>
      </pc:sldChg>
      <pc:sldChg chg="new">
        <pc:chgData name="Hoàng Thanh Tâm / VĨNH HOÀN / Chiến Lược" userId="94a8c68a-b754-4ef7-8609-838862aed947" providerId="ADAL" clId="{7E9FF501-B3CB-49B9-BF35-75000F776CCC}" dt="2022-05-09T14:31:06.600" v="10" actId="680"/>
        <pc:sldMkLst>
          <pc:docMk/>
          <pc:sldMk cId="1433650687" sldId="568"/>
        </pc:sldMkLst>
      </pc:sldChg>
      <pc:sldChg chg="new del">
        <pc:chgData name="Hoàng Thanh Tâm / VĨNH HOÀN / Chiến Lược" userId="94a8c68a-b754-4ef7-8609-838862aed947" providerId="ADAL" clId="{7E9FF501-B3CB-49B9-BF35-75000F776CCC}" dt="2022-05-09T14:31:01.410" v="7" actId="47"/>
        <pc:sldMkLst>
          <pc:docMk/>
          <pc:sldMk cId="1458827799" sldId="568"/>
        </pc:sldMkLst>
      </pc:sldChg>
      <pc:sldChg chg="new del">
        <pc:chgData name="Hoàng Thanh Tâm / VĨNH HOÀN / Chiến Lược" userId="94a8c68a-b754-4ef7-8609-838862aed947" providerId="ADAL" clId="{7E9FF501-B3CB-49B9-BF35-75000F776CCC}" dt="2022-05-09T14:31:04.831" v="9" actId="680"/>
        <pc:sldMkLst>
          <pc:docMk/>
          <pc:sldMk cId="2841060007" sldId="568"/>
        </pc:sldMkLst>
      </pc:sld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0DA10D46-8E1E-4982-AD77-C7D25518C880}" type="datetimeFigureOut">
              <a:rPr lang="en-US" smtClean="0"/>
              <a:t>5/12/2022</a:t>
            </a:fld>
            <a:endParaRPr lang="en-US"/>
          </a:p>
        </p:txBody>
      </p:sp>
      <p:sp>
        <p:nvSpPr>
          <p:cNvPr id="4" name="Footer Placeholder 3"/>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E471EA30-1165-4740-B5C4-AF54E148E0F4}" type="slidenum">
              <a:rPr lang="en-US" smtClean="0"/>
              <a:t>‹#›</a:t>
            </a:fld>
            <a:endParaRPr lang="en-US"/>
          </a:p>
        </p:txBody>
      </p:sp>
    </p:spTree>
    <p:extLst>
      <p:ext uri="{BB962C8B-B14F-4D97-AF65-F5344CB8AC3E}">
        <p14:creationId xmlns:p14="http://schemas.microsoft.com/office/powerpoint/2010/main" val="226507972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vl1pPr>
          </a:lstStyle>
          <a:p>
            <a:fld id="{29B88E9D-C6E5-674A-8D09-4206EAA8136E}" type="datetimeFigureOut">
              <a:rPr lang="en-US" smtClean="0"/>
              <a:t>5/12/2022</a:t>
            </a:fld>
            <a:endParaRPr lang="en-US"/>
          </a:p>
        </p:txBody>
      </p:sp>
      <p:sp>
        <p:nvSpPr>
          <p:cNvPr id="4" name="Slide Image Placeholder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vl1pPr>
          </a:lstStyle>
          <a:p>
            <a:fld id="{8D609D14-97C2-014F-A9AF-39D4E0EE724E}" type="slidenum">
              <a:rPr lang="en-US" smtClean="0"/>
              <a:t>‹#›</a:t>
            </a:fld>
            <a:endParaRPr lang="en-US"/>
          </a:p>
        </p:txBody>
      </p:sp>
    </p:spTree>
    <p:extLst>
      <p:ext uri="{BB962C8B-B14F-4D97-AF65-F5344CB8AC3E}">
        <p14:creationId xmlns:p14="http://schemas.microsoft.com/office/powerpoint/2010/main" val="199044272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609D14-97C2-014F-A9AF-39D4E0EE724E}" type="slidenum">
              <a:rPr lang="en-US" smtClean="0"/>
              <a:t>8</a:t>
            </a:fld>
            <a:endParaRPr lang="en-US"/>
          </a:p>
        </p:txBody>
      </p:sp>
    </p:spTree>
    <p:extLst>
      <p:ext uri="{BB962C8B-B14F-4D97-AF65-F5344CB8AC3E}">
        <p14:creationId xmlns:p14="http://schemas.microsoft.com/office/powerpoint/2010/main" val="125530470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609D14-97C2-014F-A9AF-39D4E0EE724E}" type="slidenum">
              <a:rPr lang="en-US" smtClean="0"/>
              <a:t>9</a:t>
            </a:fld>
            <a:endParaRPr lang="en-US"/>
          </a:p>
        </p:txBody>
      </p:sp>
    </p:spTree>
    <p:extLst>
      <p:ext uri="{BB962C8B-B14F-4D97-AF65-F5344CB8AC3E}">
        <p14:creationId xmlns:p14="http://schemas.microsoft.com/office/powerpoint/2010/main" val="1663239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609D14-97C2-014F-A9AF-39D4E0EE724E}" type="slidenum">
              <a:rPr lang="en-US" smtClean="0"/>
              <a:t>10</a:t>
            </a:fld>
            <a:endParaRPr lang="en-US"/>
          </a:p>
        </p:txBody>
      </p:sp>
    </p:spTree>
    <p:extLst>
      <p:ext uri="{BB962C8B-B14F-4D97-AF65-F5344CB8AC3E}">
        <p14:creationId xmlns:p14="http://schemas.microsoft.com/office/powerpoint/2010/main" val="38521935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609D14-97C2-014F-A9AF-39D4E0EE724E}" type="slidenum">
              <a:rPr lang="en-US" smtClean="0"/>
              <a:t>11</a:t>
            </a:fld>
            <a:endParaRPr lang="en-US"/>
          </a:p>
        </p:txBody>
      </p:sp>
    </p:spTree>
    <p:extLst>
      <p:ext uri="{BB962C8B-B14F-4D97-AF65-F5344CB8AC3E}">
        <p14:creationId xmlns:p14="http://schemas.microsoft.com/office/powerpoint/2010/main" val="137757709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8D609D14-97C2-014F-A9AF-39D4E0EE724E}" type="slidenum">
              <a:rPr lang="en-US" smtClean="0"/>
              <a:t>12</a:t>
            </a:fld>
            <a:endParaRPr lang="en-US"/>
          </a:p>
        </p:txBody>
      </p:sp>
    </p:spTree>
    <p:extLst>
      <p:ext uri="{BB962C8B-B14F-4D97-AF65-F5344CB8AC3E}">
        <p14:creationId xmlns:p14="http://schemas.microsoft.com/office/powerpoint/2010/main" val="9517670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8D609D14-97C2-014F-A9AF-39D4E0EE724E}" type="slidenum">
              <a:rPr lang="en-US" smtClean="0"/>
              <a:t>14</a:t>
            </a:fld>
            <a:endParaRPr lang="en-US"/>
          </a:p>
        </p:txBody>
      </p:sp>
    </p:spTree>
    <p:extLst>
      <p:ext uri="{BB962C8B-B14F-4D97-AF65-F5344CB8AC3E}">
        <p14:creationId xmlns:p14="http://schemas.microsoft.com/office/powerpoint/2010/main" val="10736091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8D609D14-97C2-014F-A9AF-39D4E0EE724E}" type="slidenum">
              <a:rPr lang="en-US" smtClean="0"/>
              <a:t>15</a:t>
            </a:fld>
            <a:endParaRPr lang="en-US"/>
          </a:p>
        </p:txBody>
      </p:sp>
    </p:spTree>
    <p:extLst>
      <p:ext uri="{BB962C8B-B14F-4D97-AF65-F5344CB8AC3E}">
        <p14:creationId xmlns:p14="http://schemas.microsoft.com/office/powerpoint/2010/main" val="305063589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6.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Vinh Hoan - Content with Points">
    <p:spTree>
      <p:nvGrpSpPr>
        <p:cNvPr id="1" name=""/>
        <p:cNvGrpSpPr/>
        <p:nvPr/>
      </p:nvGrpSpPr>
      <p:grpSpPr>
        <a:xfrm>
          <a:off x="0" y="0"/>
          <a:ext cx="0" cy="0"/>
          <a:chOff x="0" y="0"/>
          <a:chExt cx="0" cy="0"/>
        </a:xfrm>
      </p:grpSpPr>
      <p:sp>
        <p:nvSpPr>
          <p:cNvPr id="4" name="Do not remove" hidden="1">
            <a:extLst>
              <a:ext uri="{FF2B5EF4-FFF2-40B4-BE49-F238E27FC236}">
                <a16:creationId xmlns:a16="http://schemas.microsoft.com/office/drawing/2014/main" id="{FB9C4867-A85C-4D7C-916F-94413F20BAF0}"/>
              </a:ext>
            </a:extLst>
          </p:cNvPr>
          <p:cNvSpPr/>
          <p:nvPr userDrawn="1">
            <p:custDataLst>
              <p:tags r:id="rId2"/>
            </p:custDataLst>
          </p:nvPr>
        </p:nvSpPr>
        <p:spPr>
          <a:xfrm>
            <a:off x="0" y="0"/>
            <a:ext cx="12700" cy="12700"/>
          </a:xfrm>
          <a:prstGeom prst="octagon">
            <a:avLst/>
          </a:prstGeom>
          <a:noFill/>
          <a:ln w="12700" cap="flat" cmpd="sng" algn="ctr">
            <a:noFill/>
            <a:prstDash val="solid"/>
            <a:miter lim="800000"/>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HK"/>
          </a:p>
        </p:txBody>
      </p:sp>
      <p:graphicFrame>
        <p:nvGraphicFramePr>
          <p:cNvPr id="2" name="Object 1" hidden="1">
            <a:extLst>
              <a:ext uri="{FF2B5EF4-FFF2-40B4-BE49-F238E27FC236}">
                <a16:creationId xmlns:a16="http://schemas.microsoft.com/office/drawing/2014/main" id="{ED907E69-3C40-4F53-A9AF-0F8C9B7AAC8F}"/>
              </a:ext>
            </a:extLst>
          </p:cNvPr>
          <p:cNvGraphicFramePr>
            <a:graphicFrameLocks noChangeAspect="1"/>
          </p:cNvGraphicFramePr>
          <p:nvPr userDrawn="1">
            <p:custDataLst>
              <p:tags r:id="rId3"/>
            </p:custDataLst>
            <p:extLst>
              <p:ext uri="{D42A27DB-BD31-4B8C-83A1-F6EECF244321}">
                <p14:modId xmlns:p14="http://schemas.microsoft.com/office/powerpoint/2010/main" val="4213433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3" name="think-cell Slide" r:id="rId6" imgW="520" imgH="520" progId="TCLayout.ActiveDocument.1">
                  <p:embed/>
                </p:oleObj>
              </mc:Choice>
              <mc:Fallback>
                <p:oleObj name="think-cell Slide" r:id="rId6" imgW="520" imgH="520" progId="TCLayout.ActiveDocument.1">
                  <p:embed/>
                  <p:pic>
                    <p:nvPicPr>
                      <p:cNvPr id="2" name="Object 1" hidden="1">
                        <a:extLst>
                          <a:ext uri="{FF2B5EF4-FFF2-40B4-BE49-F238E27FC236}">
                            <a16:creationId xmlns:a16="http://schemas.microsoft.com/office/drawing/2014/main" id="{ED907E69-3C40-4F53-A9AF-0F8C9B7AAC8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ADA4E0-5F56-4433-87D9-C61803BA7F11}"/>
              </a:ext>
            </a:extLst>
          </p:cNvPr>
          <p:cNvSpPr/>
          <p:nvPr userDrawn="1">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16" name="Title Placeholder 1">
            <a:extLst>
              <a:ext uri="{FF2B5EF4-FFF2-40B4-BE49-F238E27FC236}">
                <a16:creationId xmlns:a16="http://schemas.microsoft.com/office/drawing/2014/main" id="{694853EF-2475-4835-BD07-B9884987A970}"/>
              </a:ext>
            </a:extLst>
          </p:cNvPr>
          <p:cNvSpPr>
            <a:spLocks noGrp="1"/>
          </p:cNvSpPr>
          <p:nvPr>
            <p:ph type="title"/>
          </p:nvPr>
        </p:nvSpPr>
        <p:spPr>
          <a:xfrm>
            <a:off x="258792" y="189780"/>
            <a:ext cx="11580993" cy="1026000"/>
          </a:xfrm>
          <a:prstGeom prst="rect">
            <a:avLst/>
          </a:prstGeom>
        </p:spPr>
        <p:txBody>
          <a:bodyPr vert="horz" lIns="91440" tIns="45720" rIns="91440" bIns="45720" numCol="1" rtlCol="0" anchor="t">
            <a:normAutofit/>
          </a:bodyPr>
          <a:lstStyle>
            <a:lvl1pPr>
              <a:defRPr>
                <a:solidFill>
                  <a:srgbClr val="0033A0"/>
                </a:solidFill>
              </a:defRPr>
            </a:lvl1pPr>
          </a:lstStyle>
          <a:p>
            <a:r>
              <a:rPr lang="en-US"/>
              <a:t>Click to edit Master title style</a:t>
            </a:r>
          </a:p>
        </p:txBody>
      </p:sp>
      <p:sp>
        <p:nvSpPr>
          <p:cNvPr id="18" name="Slide Number Placeholder 5">
            <a:extLst>
              <a:ext uri="{FF2B5EF4-FFF2-40B4-BE49-F238E27FC236}">
                <a16:creationId xmlns:a16="http://schemas.microsoft.com/office/drawing/2014/main" id="{93051FD8-1375-43E5-8F36-E1F0956AE261}"/>
              </a:ext>
            </a:extLst>
          </p:cNvPr>
          <p:cNvSpPr>
            <a:spLocks noGrp="1"/>
          </p:cNvSpPr>
          <p:nvPr>
            <p:ph type="sldNum" sz="quarter" idx="4"/>
          </p:nvPr>
        </p:nvSpPr>
        <p:spPr>
          <a:xfrm>
            <a:off x="11249472" y="6400800"/>
            <a:ext cx="590312" cy="353595"/>
          </a:xfrm>
          <a:prstGeom prst="rect">
            <a:avLst/>
          </a:prstGeom>
        </p:spPr>
        <p:txBody>
          <a:bodyPr anchor="ctr" anchorCtr="0"/>
          <a:lstStyle>
            <a:lvl1pPr algn="ctr">
              <a:lnSpc>
                <a:spcPts val="2000"/>
              </a:lnSpc>
              <a:defRPr sz="1200">
                <a:solidFill>
                  <a:srgbClr val="BEC0CB"/>
                </a:solidFill>
              </a:defRPr>
            </a:lvl1pPr>
          </a:lstStyle>
          <a:p>
            <a:fld id="{DB744C55-FBB5-4EC4-A7FE-B77A2493A9E5}" type="slidenum">
              <a:rPr lang="en-US" smtClean="0"/>
              <a:pPr/>
              <a:t>‹#›</a:t>
            </a:fld>
            <a:endParaRPr lang="en-US"/>
          </a:p>
        </p:txBody>
      </p:sp>
      <p:sp>
        <p:nvSpPr>
          <p:cNvPr id="19" name="Content Placeholder 3">
            <a:extLst>
              <a:ext uri="{FF2B5EF4-FFF2-40B4-BE49-F238E27FC236}">
                <a16:creationId xmlns:a16="http://schemas.microsoft.com/office/drawing/2014/main" id="{910D07C6-E4EA-46F2-B473-FB7A2A4B3E70}"/>
              </a:ext>
            </a:extLst>
          </p:cNvPr>
          <p:cNvSpPr>
            <a:spLocks noGrp="1"/>
          </p:cNvSpPr>
          <p:nvPr>
            <p:ph sz="quarter" idx="10"/>
          </p:nvPr>
        </p:nvSpPr>
        <p:spPr>
          <a:xfrm>
            <a:off x="258763" y="1320800"/>
            <a:ext cx="11580812" cy="4572000"/>
          </a:xfrm>
          <a:prstGeom prst="rect">
            <a:avLst/>
          </a:prstGeom>
        </p:spPr>
        <p:txBody>
          <a:bodyPr/>
          <a:lstStyle>
            <a:lvl1pPr>
              <a:defRPr>
                <a:solidFill>
                  <a:srgbClr val="0033A0"/>
                </a:solidFill>
              </a:defRPr>
            </a:lvl1pPr>
            <a:lvl2pPr>
              <a:defRPr>
                <a:solidFill>
                  <a:srgbClr val="41B6E6"/>
                </a:solidFill>
              </a:defRPr>
            </a:lvl2pPr>
            <a:lvl3pPr>
              <a:defRPr>
                <a:solidFill>
                  <a:srgbClr val="6F9CEB"/>
                </a:solidFill>
              </a:defRPr>
            </a:lvl3pPr>
            <a:lvl4pPr>
              <a:defRPr>
                <a:solidFill>
                  <a:srgbClr val="727073"/>
                </a:solidFill>
              </a:defRPr>
            </a:lvl4pPr>
            <a:lvl5pPr>
              <a:defRPr>
                <a:solidFill>
                  <a:srgbClr val="BEC0CB"/>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4181880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F10129A0-CF57-47BE-A311-96B9F4B7F3D1}"/>
              </a:ext>
            </a:extLst>
          </p:cNvPr>
          <p:cNvGraphicFramePr>
            <a:graphicFrameLocks noChangeAspect="1"/>
          </p:cNvGraphicFramePr>
          <p:nvPr userDrawn="1">
            <p:custDataLst>
              <p:tags r:id="rId4"/>
            </p:custDataLst>
            <p:extLst>
              <p:ext uri="{D42A27DB-BD31-4B8C-83A1-F6EECF244321}">
                <p14:modId xmlns:p14="http://schemas.microsoft.com/office/powerpoint/2010/main" val="2465803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9" name="think-cell Slide" r:id="rId6" imgW="520" imgH="520" progId="TCLayout.ActiveDocument.1">
                  <p:embed/>
                </p:oleObj>
              </mc:Choice>
              <mc:Fallback>
                <p:oleObj name="think-cell Slide" r:id="rId6" imgW="520" imgH="520" progId="TCLayout.ActiveDocument.1">
                  <p:embed/>
                  <p:pic>
                    <p:nvPicPr>
                      <p:cNvPr id="13" name="Object 12" hidden="1">
                        <a:extLst>
                          <a:ext uri="{FF2B5EF4-FFF2-40B4-BE49-F238E27FC236}">
                            <a16:creationId xmlns:a16="http://schemas.microsoft.com/office/drawing/2014/main" id="{F10129A0-CF57-47BE-A311-96B9F4B7F3D1}"/>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683270A-0F21-4000-8865-D66AA07593E2}"/>
              </a:ext>
            </a:extLst>
          </p:cNvPr>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800" b="1" i="0" baseline="0">
              <a:latin typeface="Arial" panose="020B0604020202020204" pitchFamily="34" charset="0"/>
              <a:ea typeface="+mj-ea"/>
              <a:cs typeface="+mj-cs"/>
              <a:sym typeface="Arial" panose="020B0604020202020204" pitchFamily="34" charset="0"/>
            </a:endParaRPr>
          </a:p>
        </p:txBody>
      </p:sp>
      <p:sp>
        <p:nvSpPr>
          <p:cNvPr id="11" name="Date Placeholder 3"/>
          <p:cNvSpPr txBox="1">
            <a:spLocks/>
          </p:cNvSpPr>
          <p:nvPr userDrawn="1"/>
        </p:nvSpPr>
        <p:spPr>
          <a:xfrm>
            <a:off x="258791" y="5856019"/>
            <a:ext cx="556218" cy="365125"/>
          </a:xfrm>
          <a:prstGeom prst="rect">
            <a:avLst/>
          </a:prstGeom>
        </p:spPr>
        <p:txBody>
          <a:bodyPr vert="horz" lIns="91440" tIns="45720" rIns="91440" bIns="45720" rtlCol="0" anchor="ctr"/>
          <a:lstStyle>
            <a:defPPr>
              <a:defRPr lang="en-US"/>
            </a:defPPr>
            <a:lvl1pPr marL="0" algn="l" defTabSz="914400" rtl="0" eaLnBrk="1" latinLnBrk="0" hangingPunct="1">
              <a:defRPr sz="1400" kern="1200">
                <a:solidFill>
                  <a:srgbClr val="41B6E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p>
        </p:txBody>
      </p:sp>
      <p:sp>
        <p:nvSpPr>
          <p:cNvPr id="6" name="Oval 5">
            <a:extLst>
              <a:ext uri="{FF2B5EF4-FFF2-40B4-BE49-F238E27FC236}">
                <a16:creationId xmlns:a16="http://schemas.microsoft.com/office/drawing/2014/main" id="{9FE3F2DD-927F-4041-8ABD-9FC399BBAAFD}"/>
              </a:ext>
            </a:extLst>
          </p:cNvPr>
          <p:cNvSpPr/>
          <p:nvPr userDrawn="1"/>
        </p:nvSpPr>
        <p:spPr>
          <a:xfrm>
            <a:off x="10716897" y="-792566"/>
            <a:ext cx="720000" cy="720000"/>
          </a:xfrm>
          <a:prstGeom prst="ellipse">
            <a:avLst/>
          </a:prstGeom>
          <a:solidFill>
            <a:srgbClr val="BEC0CB"/>
          </a:solidFill>
          <a:ln w="12700" cap="flat" cmpd="sng" algn="ctr">
            <a:noFill/>
            <a:prstDash val="solid"/>
            <a:miter lim="800000"/>
          </a:ln>
          <a:effectLst/>
        </p:spPr>
        <p:txBody>
          <a:bodyPr rtlCol="0" anchor="ctr"/>
          <a:lstStyle/>
          <a:p>
            <a:pPr algn="ctr" defTabSz="1218987">
              <a:defRPr/>
            </a:pPr>
            <a:endParaRPr lang="en-US" sz="3600" kern="0">
              <a:solidFill>
                <a:schemeClr val="bg1"/>
              </a:solidFill>
              <a:latin typeface="Calibri"/>
            </a:endParaRPr>
          </a:p>
        </p:txBody>
      </p:sp>
      <p:sp>
        <p:nvSpPr>
          <p:cNvPr id="7" name="Oval 6">
            <a:extLst>
              <a:ext uri="{FF2B5EF4-FFF2-40B4-BE49-F238E27FC236}">
                <a16:creationId xmlns:a16="http://schemas.microsoft.com/office/drawing/2014/main" id="{37B032B1-9832-4DC4-AF18-46008BA4EA62}"/>
              </a:ext>
            </a:extLst>
          </p:cNvPr>
          <p:cNvSpPr/>
          <p:nvPr userDrawn="1"/>
        </p:nvSpPr>
        <p:spPr>
          <a:xfrm>
            <a:off x="9237501" y="-792566"/>
            <a:ext cx="720000" cy="720000"/>
          </a:xfrm>
          <a:prstGeom prst="ellipse">
            <a:avLst/>
          </a:prstGeom>
          <a:solidFill>
            <a:srgbClr val="6F9CEB"/>
          </a:solidFill>
          <a:ln w="12700" cap="flat" cmpd="sng" algn="ctr">
            <a:noFill/>
            <a:prstDash val="solid"/>
            <a:miter lim="800000"/>
          </a:ln>
          <a:effectLst/>
        </p:spPr>
        <p:txBody>
          <a:bodyPr rtlCol="0" anchor="ctr"/>
          <a:lstStyle/>
          <a:p>
            <a:pPr algn="ctr" defTabSz="1218987">
              <a:defRPr/>
            </a:pPr>
            <a:endParaRPr lang="en-US" sz="3600" kern="0">
              <a:solidFill>
                <a:prstClr val="white"/>
              </a:solidFill>
              <a:latin typeface="Calibri"/>
            </a:endParaRPr>
          </a:p>
        </p:txBody>
      </p:sp>
      <p:sp>
        <p:nvSpPr>
          <p:cNvPr id="8" name="Oval 7">
            <a:extLst>
              <a:ext uri="{FF2B5EF4-FFF2-40B4-BE49-F238E27FC236}">
                <a16:creationId xmlns:a16="http://schemas.microsoft.com/office/drawing/2014/main" id="{EB5FCB04-0608-409E-89C4-5DE4265E53A4}"/>
              </a:ext>
            </a:extLst>
          </p:cNvPr>
          <p:cNvSpPr/>
          <p:nvPr userDrawn="1"/>
        </p:nvSpPr>
        <p:spPr>
          <a:xfrm>
            <a:off x="11456596" y="-792566"/>
            <a:ext cx="720000" cy="720000"/>
          </a:xfrm>
          <a:prstGeom prst="ellipse">
            <a:avLst/>
          </a:prstGeom>
          <a:solidFill>
            <a:srgbClr val="DEEBF7"/>
          </a:solidFill>
          <a:ln w="12700" cap="flat" cmpd="sng" algn="ctr">
            <a:noFill/>
            <a:prstDash val="solid"/>
            <a:miter lim="800000"/>
          </a:ln>
          <a:effectLst/>
        </p:spPr>
        <p:txBody>
          <a:bodyPr rtlCol="0" anchor="ctr"/>
          <a:lstStyle/>
          <a:p>
            <a:pPr algn="ctr" defTabSz="1218987">
              <a:defRPr/>
            </a:pPr>
            <a:endParaRPr lang="en-US" sz="3600" kern="0">
              <a:solidFill>
                <a:srgbClr val="93B5F1"/>
              </a:solidFill>
              <a:latin typeface="Calibri"/>
            </a:endParaRPr>
          </a:p>
        </p:txBody>
      </p:sp>
      <p:sp>
        <p:nvSpPr>
          <p:cNvPr id="9" name="Oval 8">
            <a:extLst>
              <a:ext uri="{FF2B5EF4-FFF2-40B4-BE49-F238E27FC236}">
                <a16:creationId xmlns:a16="http://schemas.microsoft.com/office/drawing/2014/main" id="{5712513B-3BD6-48FE-AF91-3E64CF7B3471}"/>
              </a:ext>
            </a:extLst>
          </p:cNvPr>
          <p:cNvSpPr/>
          <p:nvPr userDrawn="1"/>
        </p:nvSpPr>
        <p:spPr>
          <a:xfrm>
            <a:off x="7758105" y="-792566"/>
            <a:ext cx="720000" cy="720000"/>
          </a:xfrm>
          <a:prstGeom prst="ellipse">
            <a:avLst/>
          </a:prstGeom>
          <a:solidFill>
            <a:srgbClr val="0033A0"/>
          </a:solidFill>
          <a:ln w="12700" cap="flat" cmpd="sng" algn="ctr">
            <a:noFill/>
            <a:prstDash val="solid"/>
            <a:miter lim="800000"/>
          </a:ln>
          <a:effectLst/>
        </p:spPr>
        <p:txBody>
          <a:bodyPr rtlCol="0" anchor="ctr"/>
          <a:lstStyle/>
          <a:p>
            <a:pPr algn="ctr" defTabSz="1218987">
              <a:defRPr/>
            </a:pPr>
            <a:endParaRPr lang="en-US" sz="3600" kern="0">
              <a:solidFill>
                <a:prstClr val="white"/>
              </a:solidFill>
              <a:latin typeface="Calibri"/>
            </a:endParaRPr>
          </a:p>
        </p:txBody>
      </p:sp>
      <p:sp>
        <p:nvSpPr>
          <p:cNvPr id="10" name="Oval 9">
            <a:extLst>
              <a:ext uri="{FF2B5EF4-FFF2-40B4-BE49-F238E27FC236}">
                <a16:creationId xmlns:a16="http://schemas.microsoft.com/office/drawing/2014/main" id="{CAE37664-304A-4745-8BAD-A3DDAD231529}"/>
              </a:ext>
            </a:extLst>
          </p:cNvPr>
          <p:cNvSpPr/>
          <p:nvPr userDrawn="1"/>
        </p:nvSpPr>
        <p:spPr>
          <a:xfrm>
            <a:off x="8497803" y="-792566"/>
            <a:ext cx="720000" cy="720000"/>
          </a:xfrm>
          <a:prstGeom prst="ellipse">
            <a:avLst/>
          </a:prstGeom>
          <a:solidFill>
            <a:srgbClr val="41B6E6"/>
          </a:solidFill>
          <a:ln w="12700" cap="flat" cmpd="sng" algn="ctr">
            <a:noFill/>
            <a:prstDash val="solid"/>
            <a:miter lim="800000"/>
          </a:ln>
          <a:effectLst/>
        </p:spPr>
        <p:txBody>
          <a:bodyPr rtlCol="0" anchor="ctr"/>
          <a:lstStyle/>
          <a:p>
            <a:pPr algn="ctr" defTabSz="1218987">
              <a:defRPr/>
            </a:pPr>
            <a:endParaRPr lang="en-US" sz="3600" kern="0">
              <a:solidFill>
                <a:schemeClr val="bg1"/>
              </a:solidFill>
              <a:latin typeface="Calibri"/>
            </a:endParaRPr>
          </a:p>
        </p:txBody>
      </p:sp>
      <p:sp>
        <p:nvSpPr>
          <p:cNvPr id="12" name="Oval 11">
            <a:extLst>
              <a:ext uri="{FF2B5EF4-FFF2-40B4-BE49-F238E27FC236}">
                <a16:creationId xmlns:a16="http://schemas.microsoft.com/office/drawing/2014/main" id="{85B828E3-E81F-4940-AE58-403F606A253B}"/>
              </a:ext>
            </a:extLst>
          </p:cNvPr>
          <p:cNvSpPr/>
          <p:nvPr userDrawn="1"/>
        </p:nvSpPr>
        <p:spPr>
          <a:xfrm>
            <a:off x="9977199" y="-792566"/>
            <a:ext cx="720000" cy="720000"/>
          </a:xfrm>
          <a:prstGeom prst="ellipse">
            <a:avLst/>
          </a:prstGeom>
          <a:solidFill>
            <a:srgbClr val="727073"/>
          </a:solidFill>
          <a:ln w="12700" cap="flat" cmpd="sng" algn="ctr">
            <a:noFill/>
            <a:prstDash val="solid"/>
            <a:miter lim="800000"/>
          </a:ln>
          <a:effectLst/>
        </p:spPr>
        <p:txBody>
          <a:bodyPr rtlCol="0" anchor="ctr"/>
          <a:lstStyle/>
          <a:p>
            <a:pPr algn="ctr" defTabSz="1218987">
              <a:defRPr/>
            </a:pPr>
            <a:endParaRPr lang="en-US" sz="3600" kern="0">
              <a:solidFill>
                <a:schemeClr val="bg1"/>
              </a:solidFill>
              <a:latin typeface="Calibri"/>
            </a:endParaRPr>
          </a:p>
        </p:txBody>
      </p:sp>
      <p:pic>
        <p:nvPicPr>
          <p:cNvPr id="14" name="Picture 13">
            <a:extLst>
              <a:ext uri="{FF2B5EF4-FFF2-40B4-BE49-F238E27FC236}">
                <a16:creationId xmlns:a16="http://schemas.microsoft.com/office/drawing/2014/main" id="{C8348106-4727-473A-9774-E71B42A9C15E}"/>
              </a:ext>
            </a:extLst>
          </p:cNvPr>
          <p:cNvPicPr>
            <a:picLocks noChangeAspect="1"/>
          </p:cNvPicPr>
          <p:nvPr userDrawn="1"/>
        </p:nvPicPr>
        <p:blipFill>
          <a:blip r:embed="rId8"/>
          <a:stretch>
            <a:fillRect/>
          </a:stretch>
        </p:blipFill>
        <p:spPr>
          <a:xfrm>
            <a:off x="237744" y="6126968"/>
            <a:ext cx="731250" cy="562500"/>
          </a:xfrm>
          <a:prstGeom prst="rect">
            <a:avLst/>
          </a:prstGeom>
          <a:solidFill>
            <a:schemeClr val="bg1"/>
          </a:solidFill>
        </p:spPr>
      </p:pic>
      <p:sp>
        <p:nvSpPr>
          <p:cNvPr id="15" name="TextBox 14">
            <a:extLst>
              <a:ext uri="{FF2B5EF4-FFF2-40B4-BE49-F238E27FC236}">
                <a16:creationId xmlns:a16="http://schemas.microsoft.com/office/drawing/2014/main" id="{81BE748D-7D2D-4D0A-B2BE-4CC688772C62}"/>
              </a:ext>
            </a:extLst>
          </p:cNvPr>
          <p:cNvSpPr txBox="1"/>
          <p:nvPr userDrawn="1"/>
        </p:nvSpPr>
        <p:spPr>
          <a:xfrm>
            <a:off x="7758105" y="-721106"/>
            <a:ext cx="720000" cy="577081"/>
          </a:xfrm>
          <a:prstGeom prst="rect">
            <a:avLst/>
          </a:prstGeom>
          <a:noFill/>
        </p:spPr>
        <p:txBody>
          <a:bodyPr wrap="square" rtlCol="0">
            <a:spAutoFit/>
          </a:bodyPr>
          <a:lstStyle/>
          <a:p>
            <a:pPr algn="ctr"/>
            <a:r>
              <a:rPr lang="en-HK" sz="1050">
                <a:solidFill>
                  <a:schemeClr val="bg1"/>
                </a:solidFill>
              </a:rPr>
              <a:t>R: 0</a:t>
            </a:r>
          </a:p>
          <a:p>
            <a:pPr algn="ctr"/>
            <a:r>
              <a:rPr lang="en-HK" sz="1050">
                <a:solidFill>
                  <a:schemeClr val="bg1"/>
                </a:solidFill>
              </a:rPr>
              <a:t>G: 51</a:t>
            </a:r>
          </a:p>
          <a:p>
            <a:pPr algn="ctr"/>
            <a:r>
              <a:rPr lang="en-HK" sz="1050">
                <a:solidFill>
                  <a:schemeClr val="bg1"/>
                </a:solidFill>
              </a:rPr>
              <a:t>B: 160</a:t>
            </a:r>
            <a:endParaRPr lang="en-GB" sz="1050">
              <a:solidFill>
                <a:schemeClr val="bg1"/>
              </a:solidFill>
            </a:endParaRPr>
          </a:p>
        </p:txBody>
      </p:sp>
      <p:sp>
        <p:nvSpPr>
          <p:cNvPr id="16" name="TextBox 15">
            <a:extLst>
              <a:ext uri="{FF2B5EF4-FFF2-40B4-BE49-F238E27FC236}">
                <a16:creationId xmlns:a16="http://schemas.microsoft.com/office/drawing/2014/main" id="{96C9716B-A38A-4B23-85B5-4D3A500478EF}"/>
              </a:ext>
            </a:extLst>
          </p:cNvPr>
          <p:cNvSpPr txBox="1"/>
          <p:nvPr userDrawn="1"/>
        </p:nvSpPr>
        <p:spPr>
          <a:xfrm>
            <a:off x="8497803" y="-721106"/>
            <a:ext cx="720000" cy="577081"/>
          </a:xfrm>
          <a:prstGeom prst="rect">
            <a:avLst/>
          </a:prstGeom>
          <a:noFill/>
        </p:spPr>
        <p:txBody>
          <a:bodyPr wrap="square" rtlCol="0">
            <a:spAutoFit/>
          </a:bodyPr>
          <a:lstStyle/>
          <a:p>
            <a:pPr algn="ctr"/>
            <a:r>
              <a:rPr lang="en-HK" sz="1050">
                <a:solidFill>
                  <a:schemeClr val="bg1"/>
                </a:solidFill>
              </a:rPr>
              <a:t>R: 65</a:t>
            </a:r>
          </a:p>
          <a:p>
            <a:pPr algn="ctr"/>
            <a:r>
              <a:rPr lang="en-HK" sz="1050">
                <a:solidFill>
                  <a:schemeClr val="bg1"/>
                </a:solidFill>
              </a:rPr>
              <a:t>G: 182</a:t>
            </a:r>
          </a:p>
          <a:p>
            <a:pPr algn="ctr"/>
            <a:r>
              <a:rPr lang="en-HK" sz="1050">
                <a:solidFill>
                  <a:schemeClr val="bg1"/>
                </a:solidFill>
              </a:rPr>
              <a:t>B: 230</a:t>
            </a:r>
            <a:endParaRPr lang="en-GB" sz="1050">
              <a:solidFill>
                <a:schemeClr val="bg1"/>
              </a:solidFill>
            </a:endParaRPr>
          </a:p>
        </p:txBody>
      </p:sp>
      <p:sp>
        <p:nvSpPr>
          <p:cNvPr id="17" name="TextBox 16">
            <a:extLst>
              <a:ext uri="{FF2B5EF4-FFF2-40B4-BE49-F238E27FC236}">
                <a16:creationId xmlns:a16="http://schemas.microsoft.com/office/drawing/2014/main" id="{91EC3EFE-6053-4288-BEEF-4AFA732E0E17}"/>
              </a:ext>
            </a:extLst>
          </p:cNvPr>
          <p:cNvSpPr txBox="1"/>
          <p:nvPr userDrawn="1"/>
        </p:nvSpPr>
        <p:spPr>
          <a:xfrm>
            <a:off x="9237501" y="-721106"/>
            <a:ext cx="720000" cy="577081"/>
          </a:xfrm>
          <a:prstGeom prst="rect">
            <a:avLst/>
          </a:prstGeom>
          <a:noFill/>
        </p:spPr>
        <p:txBody>
          <a:bodyPr wrap="square" rtlCol="0">
            <a:spAutoFit/>
          </a:bodyPr>
          <a:lstStyle/>
          <a:p>
            <a:pPr algn="ctr"/>
            <a:r>
              <a:rPr lang="en-HK" sz="1050">
                <a:solidFill>
                  <a:schemeClr val="bg1"/>
                </a:solidFill>
              </a:rPr>
              <a:t>R: 111</a:t>
            </a:r>
          </a:p>
          <a:p>
            <a:pPr algn="ctr"/>
            <a:r>
              <a:rPr lang="en-HK" sz="1050">
                <a:solidFill>
                  <a:schemeClr val="bg1"/>
                </a:solidFill>
              </a:rPr>
              <a:t>G: 156</a:t>
            </a:r>
          </a:p>
          <a:p>
            <a:pPr algn="ctr"/>
            <a:r>
              <a:rPr lang="en-HK" sz="1050">
                <a:solidFill>
                  <a:schemeClr val="bg1"/>
                </a:solidFill>
              </a:rPr>
              <a:t>B: 235</a:t>
            </a:r>
            <a:endParaRPr lang="en-GB" sz="1050">
              <a:solidFill>
                <a:schemeClr val="bg1"/>
              </a:solidFill>
            </a:endParaRPr>
          </a:p>
        </p:txBody>
      </p:sp>
      <p:sp>
        <p:nvSpPr>
          <p:cNvPr id="18" name="TextBox 17">
            <a:extLst>
              <a:ext uri="{FF2B5EF4-FFF2-40B4-BE49-F238E27FC236}">
                <a16:creationId xmlns:a16="http://schemas.microsoft.com/office/drawing/2014/main" id="{C43D2E01-9AAB-4F3D-9BE7-F8F5D8887EAB}"/>
              </a:ext>
            </a:extLst>
          </p:cNvPr>
          <p:cNvSpPr txBox="1"/>
          <p:nvPr userDrawn="1"/>
        </p:nvSpPr>
        <p:spPr>
          <a:xfrm>
            <a:off x="9977199" y="-721106"/>
            <a:ext cx="720000" cy="577081"/>
          </a:xfrm>
          <a:prstGeom prst="rect">
            <a:avLst/>
          </a:prstGeom>
          <a:noFill/>
        </p:spPr>
        <p:txBody>
          <a:bodyPr wrap="square" rtlCol="0">
            <a:spAutoFit/>
          </a:bodyPr>
          <a:lstStyle/>
          <a:p>
            <a:pPr algn="ctr"/>
            <a:r>
              <a:rPr lang="en-HK" sz="1050">
                <a:solidFill>
                  <a:schemeClr val="bg1"/>
                </a:solidFill>
              </a:rPr>
              <a:t>R: 114</a:t>
            </a:r>
          </a:p>
          <a:p>
            <a:pPr algn="ctr"/>
            <a:r>
              <a:rPr lang="en-HK" sz="1050">
                <a:solidFill>
                  <a:schemeClr val="bg1"/>
                </a:solidFill>
              </a:rPr>
              <a:t>G: 112</a:t>
            </a:r>
          </a:p>
          <a:p>
            <a:pPr algn="ctr"/>
            <a:r>
              <a:rPr lang="en-HK" sz="1050">
                <a:solidFill>
                  <a:schemeClr val="bg1"/>
                </a:solidFill>
              </a:rPr>
              <a:t>B: 115</a:t>
            </a:r>
            <a:endParaRPr lang="en-GB" sz="1050">
              <a:solidFill>
                <a:schemeClr val="bg1"/>
              </a:solidFill>
            </a:endParaRPr>
          </a:p>
        </p:txBody>
      </p:sp>
      <p:sp>
        <p:nvSpPr>
          <p:cNvPr id="19" name="TextBox 18">
            <a:extLst>
              <a:ext uri="{FF2B5EF4-FFF2-40B4-BE49-F238E27FC236}">
                <a16:creationId xmlns:a16="http://schemas.microsoft.com/office/drawing/2014/main" id="{F8C97934-00E2-4FC9-8C19-8B187FBAD93F}"/>
              </a:ext>
            </a:extLst>
          </p:cNvPr>
          <p:cNvSpPr txBox="1"/>
          <p:nvPr userDrawn="1"/>
        </p:nvSpPr>
        <p:spPr>
          <a:xfrm>
            <a:off x="10716897" y="-721106"/>
            <a:ext cx="720000" cy="577081"/>
          </a:xfrm>
          <a:prstGeom prst="rect">
            <a:avLst/>
          </a:prstGeom>
          <a:noFill/>
        </p:spPr>
        <p:txBody>
          <a:bodyPr wrap="square" rtlCol="0">
            <a:spAutoFit/>
          </a:bodyPr>
          <a:lstStyle/>
          <a:p>
            <a:pPr algn="ctr"/>
            <a:r>
              <a:rPr lang="en-HK" sz="1050">
                <a:solidFill>
                  <a:schemeClr val="bg1"/>
                </a:solidFill>
              </a:rPr>
              <a:t>R: 190</a:t>
            </a:r>
          </a:p>
          <a:p>
            <a:pPr algn="ctr"/>
            <a:r>
              <a:rPr lang="en-HK" sz="1050">
                <a:solidFill>
                  <a:schemeClr val="bg1"/>
                </a:solidFill>
              </a:rPr>
              <a:t>G: 192</a:t>
            </a:r>
          </a:p>
          <a:p>
            <a:pPr algn="ctr"/>
            <a:r>
              <a:rPr lang="en-HK" sz="1050">
                <a:solidFill>
                  <a:schemeClr val="bg1"/>
                </a:solidFill>
              </a:rPr>
              <a:t>B: 203</a:t>
            </a:r>
            <a:endParaRPr lang="en-GB" sz="1050">
              <a:solidFill>
                <a:schemeClr val="bg1"/>
              </a:solidFill>
            </a:endParaRPr>
          </a:p>
        </p:txBody>
      </p:sp>
      <p:sp>
        <p:nvSpPr>
          <p:cNvPr id="20" name="TextBox 19">
            <a:extLst>
              <a:ext uri="{FF2B5EF4-FFF2-40B4-BE49-F238E27FC236}">
                <a16:creationId xmlns:a16="http://schemas.microsoft.com/office/drawing/2014/main" id="{3BD85AA6-000A-401D-AE1B-9E34A510D203}"/>
              </a:ext>
            </a:extLst>
          </p:cNvPr>
          <p:cNvSpPr txBox="1"/>
          <p:nvPr userDrawn="1"/>
        </p:nvSpPr>
        <p:spPr>
          <a:xfrm>
            <a:off x="11479784" y="-721106"/>
            <a:ext cx="720000" cy="577081"/>
          </a:xfrm>
          <a:prstGeom prst="rect">
            <a:avLst/>
          </a:prstGeom>
          <a:noFill/>
        </p:spPr>
        <p:txBody>
          <a:bodyPr wrap="square" rtlCol="0">
            <a:spAutoFit/>
          </a:bodyPr>
          <a:lstStyle/>
          <a:p>
            <a:r>
              <a:rPr lang="en-HK" sz="1050">
                <a:solidFill>
                  <a:schemeClr val="tx1"/>
                </a:solidFill>
              </a:rPr>
              <a:t>R: 222</a:t>
            </a:r>
          </a:p>
          <a:p>
            <a:r>
              <a:rPr lang="en-HK" sz="1050">
                <a:solidFill>
                  <a:schemeClr val="tx1"/>
                </a:solidFill>
              </a:rPr>
              <a:t>G: 235</a:t>
            </a:r>
          </a:p>
          <a:p>
            <a:r>
              <a:rPr lang="en-HK" sz="1050">
                <a:solidFill>
                  <a:schemeClr val="tx1"/>
                </a:solidFill>
              </a:rPr>
              <a:t>B: 247</a:t>
            </a:r>
            <a:endParaRPr lang="en-GB" sz="1050">
              <a:solidFill>
                <a:schemeClr val="tx1"/>
              </a:solidFill>
            </a:endParaRPr>
          </a:p>
        </p:txBody>
      </p:sp>
    </p:spTree>
    <p:extLst>
      <p:ext uri="{BB962C8B-B14F-4D97-AF65-F5344CB8AC3E}">
        <p14:creationId xmlns:p14="http://schemas.microsoft.com/office/powerpoint/2010/main" val="987237644"/>
      </p:ext>
    </p:extLst>
  </p:cSld>
  <p:clrMap bg1="lt1" tx1="dk1" bg2="lt2" tx2="dk2" accent1="accent1" accent2="accent2" accent3="accent3" accent4="accent4" accent5="accent5" accent6="accent6" hlink="hlink" folHlink="folHlink"/>
  <p:sldLayoutIdLst>
    <p:sldLayoutId id="2147483650" r:id="rId1"/>
  </p:sldLayoutIdLst>
  <p:hf hdr="0" ftr="0" dt="0"/>
  <p:txStyles>
    <p:titleStyle>
      <a:lvl1pPr algn="l" defTabSz="914400" rtl="0" eaLnBrk="1" latinLnBrk="0" hangingPunct="1">
        <a:lnSpc>
          <a:spcPts val="3800"/>
        </a:lnSpc>
        <a:spcBef>
          <a:spcPct val="0"/>
        </a:spcBef>
        <a:buNone/>
        <a:defRPr sz="2800" b="1" kern="1200" cap="all" baseline="0">
          <a:solidFill>
            <a:srgbClr val="0060AC"/>
          </a:solidFill>
          <a:latin typeface="+mj-lt"/>
          <a:ea typeface="+mj-ea"/>
          <a:cs typeface="+mj-cs"/>
        </a:defRPr>
      </a:lvl1pPr>
    </p:titleStyle>
    <p:bodyStyle>
      <a:lvl1pPr marL="0" indent="0" algn="l" defTabSz="914400" rtl="0" eaLnBrk="1" latinLnBrk="0" hangingPunct="1">
        <a:lnSpc>
          <a:spcPct val="100000"/>
        </a:lnSpc>
        <a:spcBef>
          <a:spcPts val="1000"/>
        </a:spcBef>
        <a:buFont typeface="Arial"/>
        <a:buNone/>
        <a:defRPr sz="2400" kern="1200">
          <a:solidFill>
            <a:srgbClr val="0060AC"/>
          </a:solidFill>
          <a:latin typeface="+mn-lt"/>
          <a:ea typeface="+mn-ea"/>
          <a:cs typeface="+mn-cs"/>
        </a:defRPr>
      </a:lvl1pPr>
      <a:lvl2pPr marL="230400" indent="-228600" algn="l" defTabSz="914400" rtl="0" eaLnBrk="1" latinLnBrk="0" hangingPunct="1">
        <a:lnSpc>
          <a:spcPct val="100000"/>
        </a:lnSpc>
        <a:spcBef>
          <a:spcPts val="500"/>
        </a:spcBef>
        <a:buFont typeface="Arial"/>
        <a:buChar char="•"/>
        <a:defRPr sz="2400" kern="1200">
          <a:solidFill>
            <a:srgbClr val="41B6E6"/>
          </a:solidFill>
          <a:latin typeface="+mn-lt"/>
          <a:ea typeface="+mn-ea"/>
          <a:cs typeface="+mn-cs"/>
        </a:defRPr>
      </a:lvl2pPr>
      <a:lvl3pPr marL="684000" indent="-228600" algn="l" defTabSz="914400" rtl="0" eaLnBrk="1" latinLnBrk="0" hangingPunct="1">
        <a:lnSpc>
          <a:spcPct val="100000"/>
        </a:lnSpc>
        <a:spcBef>
          <a:spcPts val="500"/>
        </a:spcBef>
        <a:buFont typeface="Arial"/>
        <a:buChar char="•"/>
        <a:defRPr sz="2200" kern="1200">
          <a:solidFill>
            <a:srgbClr val="6F9CEB"/>
          </a:solidFill>
          <a:latin typeface="+mn-lt"/>
          <a:ea typeface="+mn-ea"/>
          <a:cs typeface="+mn-cs"/>
        </a:defRPr>
      </a:lvl3pPr>
      <a:lvl4pPr marL="1144800" indent="-228600" algn="l" defTabSz="914400" rtl="0" eaLnBrk="1" latinLnBrk="0" hangingPunct="1">
        <a:lnSpc>
          <a:spcPct val="100000"/>
        </a:lnSpc>
        <a:spcBef>
          <a:spcPts val="500"/>
        </a:spcBef>
        <a:buFont typeface="Arial"/>
        <a:buChar char="•"/>
        <a:defRPr sz="1600" kern="1200">
          <a:solidFill>
            <a:srgbClr val="A7A7A7"/>
          </a:solidFill>
          <a:latin typeface="+mn-lt"/>
          <a:ea typeface="+mn-ea"/>
          <a:cs typeface="+mn-cs"/>
        </a:defRPr>
      </a:lvl4pPr>
      <a:lvl5pPr marL="1598400" indent="-228600" algn="l" defTabSz="914400" rtl="0" eaLnBrk="1" latinLnBrk="0" hangingPunct="1">
        <a:lnSpc>
          <a:spcPct val="100000"/>
        </a:lnSpc>
        <a:spcBef>
          <a:spcPts val="500"/>
        </a:spcBef>
        <a:buFont typeface="Arial"/>
        <a:buChar char="•"/>
        <a:defRPr sz="1600" kern="1200">
          <a:solidFill>
            <a:srgbClr val="BEC0CB"/>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746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7.xml"/><Relationship Id="rId1" Type="http://schemas.openxmlformats.org/officeDocument/2006/relationships/vmlDrawing" Target="../drawings/vmlDrawing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8" Type="http://schemas.openxmlformats.org/officeDocument/2006/relationships/image" Target="../media/image14.jpg"/><Relationship Id="rId3" Type="http://schemas.openxmlformats.org/officeDocument/2006/relationships/tags" Target="../tags/tag99.xml"/><Relationship Id="rId7" Type="http://schemas.openxmlformats.org/officeDocument/2006/relationships/image" Target="../media/image10.emf"/><Relationship Id="rId2" Type="http://schemas.openxmlformats.org/officeDocument/2006/relationships/tags" Target="../tags/tag98.xml"/><Relationship Id="rId1" Type="http://schemas.openxmlformats.org/officeDocument/2006/relationships/vmlDrawing" Target="../drawings/vmlDrawing10.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8" Type="http://schemas.openxmlformats.org/officeDocument/2006/relationships/image" Target="../media/image15.jpg"/><Relationship Id="rId3" Type="http://schemas.openxmlformats.org/officeDocument/2006/relationships/tags" Target="../tags/tag101.xml"/><Relationship Id="rId7" Type="http://schemas.openxmlformats.org/officeDocument/2006/relationships/image" Target="../media/image10.emf"/><Relationship Id="rId2" Type="http://schemas.openxmlformats.org/officeDocument/2006/relationships/tags" Target="../tags/tag100.xml"/><Relationship Id="rId1" Type="http://schemas.openxmlformats.org/officeDocument/2006/relationships/vmlDrawing" Target="../drawings/vmlDrawing11.vml"/><Relationship Id="rId6" Type="http://schemas.openxmlformats.org/officeDocument/2006/relationships/oleObject" Target="../embeddings/oleObject8.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6.jpg"/><Relationship Id="rId3" Type="http://schemas.openxmlformats.org/officeDocument/2006/relationships/tags" Target="../tags/tag103.xml"/><Relationship Id="rId7" Type="http://schemas.openxmlformats.org/officeDocument/2006/relationships/image" Target="../media/image10.emf"/><Relationship Id="rId2" Type="http://schemas.openxmlformats.org/officeDocument/2006/relationships/tags" Target="../tags/tag102.xml"/><Relationship Id="rId1" Type="http://schemas.openxmlformats.org/officeDocument/2006/relationships/vmlDrawing" Target="../drawings/vmlDrawing12.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1.xml"/><Relationship Id="rId9" Type="http://schemas.openxmlformats.org/officeDocument/2006/relationships/image" Target="../media/image17.png"/></Relationships>
</file>

<file path=ppt/slides/_rels/slide13.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18.jpeg"/><Relationship Id="rId2" Type="http://schemas.openxmlformats.org/officeDocument/2006/relationships/tags" Target="../tags/tag104.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8" Type="http://schemas.openxmlformats.org/officeDocument/2006/relationships/hyperlink" Target="https://www.seafoodsource.com/news/supply-trade/china-leans-heavily-on-subsidies-to-blunt-coronavirus-impact" TargetMode="External"/><Relationship Id="rId3" Type="http://schemas.openxmlformats.org/officeDocument/2006/relationships/tags" Target="../tags/tag107.xml"/><Relationship Id="rId7" Type="http://schemas.openxmlformats.org/officeDocument/2006/relationships/image" Target="../media/image10.emf"/><Relationship Id="rId2" Type="http://schemas.openxmlformats.org/officeDocument/2006/relationships/tags" Target="../tags/tag106.xml"/><Relationship Id="rId1" Type="http://schemas.openxmlformats.org/officeDocument/2006/relationships/vmlDrawing" Target="../drawings/vmlDrawing14.vml"/><Relationship Id="rId6" Type="http://schemas.openxmlformats.org/officeDocument/2006/relationships/oleObject" Target="../embeddings/oleObject10.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ir@vinhhoan.com" TargetMode="External"/><Relationship Id="rId3" Type="http://schemas.openxmlformats.org/officeDocument/2006/relationships/slideLayout" Target="../slideLayouts/slideLayout1.xml"/><Relationship Id="rId7" Type="http://schemas.openxmlformats.org/officeDocument/2006/relationships/image" Target="../media/image3.jpeg"/><Relationship Id="rId2" Type="http://schemas.openxmlformats.org/officeDocument/2006/relationships/tags" Target="../tags/tag108.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notesSlide" Target="../notesSlides/notesSlide7.xml"/></Relationships>
</file>

<file path=ppt/slides/_rels/slide2.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tags" Target="../tags/tag11.xml"/><Relationship Id="rId7" Type="http://schemas.openxmlformats.org/officeDocument/2006/relationships/image" Target="../media/image4.pn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6.jpe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tags" Target="../tags/tag39.xml"/><Relationship Id="rId39" Type="http://schemas.openxmlformats.org/officeDocument/2006/relationships/tags" Target="../tags/tag52.xml"/><Relationship Id="rId3" Type="http://schemas.openxmlformats.org/officeDocument/2006/relationships/tags" Target="../tags/tag16.xml"/><Relationship Id="rId21" Type="http://schemas.openxmlformats.org/officeDocument/2006/relationships/tags" Target="../tags/tag34.xml"/><Relationship Id="rId34" Type="http://schemas.openxmlformats.org/officeDocument/2006/relationships/tags" Target="../tags/tag47.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tags" Target="../tags/tag38.xml"/><Relationship Id="rId33" Type="http://schemas.openxmlformats.org/officeDocument/2006/relationships/tags" Target="../tags/tag46.xml"/><Relationship Id="rId38" Type="http://schemas.openxmlformats.org/officeDocument/2006/relationships/tags" Target="../tags/tag51.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tags" Target="../tags/tag42.xml"/><Relationship Id="rId41" Type="http://schemas.openxmlformats.org/officeDocument/2006/relationships/image" Target="../media/image7.png"/><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tags" Target="../tags/tag37.xml"/><Relationship Id="rId32" Type="http://schemas.openxmlformats.org/officeDocument/2006/relationships/tags" Target="../tags/tag45.xml"/><Relationship Id="rId37" Type="http://schemas.openxmlformats.org/officeDocument/2006/relationships/tags" Target="../tags/tag50.xml"/><Relationship Id="rId40" Type="http://schemas.openxmlformats.org/officeDocument/2006/relationships/slideLayout" Target="../slideLayouts/slideLayout1.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tags" Target="../tags/tag41.xml"/><Relationship Id="rId36" Type="http://schemas.openxmlformats.org/officeDocument/2006/relationships/tags" Target="../tags/tag49.xml"/><Relationship Id="rId10" Type="http://schemas.openxmlformats.org/officeDocument/2006/relationships/tags" Target="../tags/tag23.xml"/><Relationship Id="rId19" Type="http://schemas.openxmlformats.org/officeDocument/2006/relationships/tags" Target="../tags/tag32.xml"/><Relationship Id="rId31" Type="http://schemas.openxmlformats.org/officeDocument/2006/relationships/tags" Target="../tags/tag44.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tags" Target="../tags/tag40.xml"/><Relationship Id="rId30" Type="http://schemas.openxmlformats.org/officeDocument/2006/relationships/tags" Target="../tags/tag43.xml"/><Relationship Id="rId35" Type="http://schemas.openxmlformats.org/officeDocument/2006/relationships/tags" Target="../tags/tag48.xml"/></Relationships>
</file>

<file path=ppt/slides/_rels/slide6.xml.rels><?xml version="1.0" encoding="UTF-8" standalone="yes"?>
<Relationships xmlns="http://schemas.openxmlformats.org/package/2006/relationships"><Relationship Id="rId8" Type="http://schemas.openxmlformats.org/officeDocument/2006/relationships/tags" Target="../tags/tag60.xml"/><Relationship Id="rId13" Type="http://schemas.openxmlformats.org/officeDocument/2006/relationships/tags" Target="../tags/tag65.xml"/><Relationship Id="rId18" Type="http://schemas.openxmlformats.org/officeDocument/2006/relationships/tags" Target="../tags/tag70.xml"/><Relationship Id="rId26" Type="http://schemas.openxmlformats.org/officeDocument/2006/relationships/tags" Target="../tags/tag78.xml"/><Relationship Id="rId39" Type="http://schemas.openxmlformats.org/officeDocument/2006/relationships/tags" Target="../tags/tag91.xml"/><Relationship Id="rId3" Type="http://schemas.openxmlformats.org/officeDocument/2006/relationships/tags" Target="../tags/tag55.xml"/><Relationship Id="rId21" Type="http://schemas.openxmlformats.org/officeDocument/2006/relationships/tags" Target="../tags/tag73.xml"/><Relationship Id="rId34" Type="http://schemas.openxmlformats.org/officeDocument/2006/relationships/tags" Target="../tags/tag86.xml"/><Relationship Id="rId7" Type="http://schemas.openxmlformats.org/officeDocument/2006/relationships/tags" Target="../tags/tag59.xml"/><Relationship Id="rId12" Type="http://schemas.openxmlformats.org/officeDocument/2006/relationships/tags" Target="../tags/tag64.xml"/><Relationship Id="rId17" Type="http://schemas.openxmlformats.org/officeDocument/2006/relationships/tags" Target="../tags/tag69.xml"/><Relationship Id="rId25" Type="http://schemas.openxmlformats.org/officeDocument/2006/relationships/tags" Target="../tags/tag77.xml"/><Relationship Id="rId33" Type="http://schemas.openxmlformats.org/officeDocument/2006/relationships/tags" Target="../tags/tag85.xml"/><Relationship Id="rId38" Type="http://schemas.openxmlformats.org/officeDocument/2006/relationships/tags" Target="../tags/tag90.xml"/><Relationship Id="rId2" Type="http://schemas.openxmlformats.org/officeDocument/2006/relationships/tags" Target="../tags/tag54.xml"/><Relationship Id="rId16" Type="http://schemas.openxmlformats.org/officeDocument/2006/relationships/tags" Target="../tags/tag68.xml"/><Relationship Id="rId20" Type="http://schemas.openxmlformats.org/officeDocument/2006/relationships/tags" Target="../tags/tag72.xml"/><Relationship Id="rId29" Type="http://schemas.openxmlformats.org/officeDocument/2006/relationships/tags" Target="../tags/tag81.xml"/><Relationship Id="rId41" Type="http://schemas.openxmlformats.org/officeDocument/2006/relationships/image" Target="../media/image8.png"/><Relationship Id="rId1" Type="http://schemas.openxmlformats.org/officeDocument/2006/relationships/tags" Target="../tags/tag53.xml"/><Relationship Id="rId6" Type="http://schemas.openxmlformats.org/officeDocument/2006/relationships/tags" Target="../tags/tag58.xml"/><Relationship Id="rId11" Type="http://schemas.openxmlformats.org/officeDocument/2006/relationships/tags" Target="../tags/tag63.xml"/><Relationship Id="rId24" Type="http://schemas.openxmlformats.org/officeDocument/2006/relationships/tags" Target="../tags/tag76.xml"/><Relationship Id="rId32" Type="http://schemas.openxmlformats.org/officeDocument/2006/relationships/tags" Target="../tags/tag84.xml"/><Relationship Id="rId37" Type="http://schemas.openxmlformats.org/officeDocument/2006/relationships/tags" Target="../tags/tag89.xml"/><Relationship Id="rId40" Type="http://schemas.openxmlformats.org/officeDocument/2006/relationships/slideLayout" Target="../slideLayouts/slideLayout1.xml"/><Relationship Id="rId5" Type="http://schemas.openxmlformats.org/officeDocument/2006/relationships/tags" Target="../tags/tag57.xml"/><Relationship Id="rId15" Type="http://schemas.openxmlformats.org/officeDocument/2006/relationships/tags" Target="../tags/tag67.xml"/><Relationship Id="rId23" Type="http://schemas.openxmlformats.org/officeDocument/2006/relationships/tags" Target="../tags/tag75.xml"/><Relationship Id="rId28" Type="http://schemas.openxmlformats.org/officeDocument/2006/relationships/tags" Target="../tags/tag80.xml"/><Relationship Id="rId36" Type="http://schemas.openxmlformats.org/officeDocument/2006/relationships/tags" Target="../tags/tag88.xml"/><Relationship Id="rId10" Type="http://schemas.openxmlformats.org/officeDocument/2006/relationships/tags" Target="../tags/tag62.xml"/><Relationship Id="rId19" Type="http://schemas.openxmlformats.org/officeDocument/2006/relationships/tags" Target="../tags/tag71.xml"/><Relationship Id="rId31" Type="http://schemas.openxmlformats.org/officeDocument/2006/relationships/tags" Target="../tags/tag83.xml"/><Relationship Id="rId4" Type="http://schemas.openxmlformats.org/officeDocument/2006/relationships/tags" Target="../tags/tag56.xml"/><Relationship Id="rId9" Type="http://schemas.openxmlformats.org/officeDocument/2006/relationships/tags" Target="../tags/tag61.xml"/><Relationship Id="rId14" Type="http://schemas.openxmlformats.org/officeDocument/2006/relationships/tags" Target="../tags/tag66.xml"/><Relationship Id="rId22" Type="http://schemas.openxmlformats.org/officeDocument/2006/relationships/tags" Target="../tags/tag74.xml"/><Relationship Id="rId27" Type="http://schemas.openxmlformats.org/officeDocument/2006/relationships/tags" Target="../tags/tag79.xml"/><Relationship Id="rId30" Type="http://schemas.openxmlformats.org/officeDocument/2006/relationships/tags" Target="../tags/tag82.xml"/><Relationship Id="rId35" Type="http://schemas.openxmlformats.org/officeDocument/2006/relationships/tags" Target="../tags/tag87.xml"/></Relationships>
</file>

<file path=ppt/slides/_rels/slide7.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9.jpeg"/><Relationship Id="rId2" Type="http://schemas.openxmlformats.org/officeDocument/2006/relationships/tags" Target="../tags/tag92.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8" Type="http://schemas.openxmlformats.org/officeDocument/2006/relationships/image" Target="../media/image11.jpg"/><Relationship Id="rId3" Type="http://schemas.openxmlformats.org/officeDocument/2006/relationships/tags" Target="../tags/tag95.xml"/><Relationship Id="rId7" Type="http://schemas.openxmlformats.org/officeDocument/2006/relationships/image" Target="../media/image10.emf"/><Relationship Id="rId2" Type="http://schemas.openxmlformats.org/officeDocument/2006/relationships/tags" Target="../tags/tag94.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1.xml"/><Relationship Id="rId4" Type="http://schemas.openxmlformats.org/officeDocument/2006/relationships/slideLayout" Target="../slideLayouts/slideLayout1.xml"/><Relationship Id="rId9" Type="http://schemas.openxmlformats.org/officeDocument/2006/relationships/image" Target="../media/image12.jpg"/></Relationships>
</file>

<file path=ppt/slides/_rels/slide9.xml.rels><?xml version="1.0" encoding="UTF-8" standalone="yes"?>
<Relationships xmlns="http://schemas.openxmlformats.org/package/2006/relationships"><Relationship Id="rId8" Type="http://schemas.openxmlformats.org/officeDocument/2006/relationships/image" Target="../media/image13.jpg"/><Relationship Id="rId3" Type="http://schemas.openxmlformats.org/officeDocument/2006/relationships/tags" Target="../tags/tag97.xml"/><Relationship Id="rId7" Type="http://schemas.openxmlformats.org/officeDocument/2006/relationships/image" Target="../media/image10.emf"/><Relationship Id="rId2" Type="http://schemas.openxmlformats.org/officeDocument/2006/relationships/tags" Target="../tags/tag96.xml"/><Relationship Id="rId1" Type="http://schemas.openxmlformats.org/officeDocument/2006/relationships/vmlDrawing" Target="../drawings/vmlDrawing9.vml"/><Relationship Id="rId6" Type="http://schemas.openxmlformats.org/officeDocument/2006/relationships/oleObject" Target="../embeddings/oleObject8.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61BBCB-EE97-41D1-B372-31091BF7B8B0}"/>
              </a:ext>
            </a:extLst>
          </p:cNvPr>
          <p:cNvGraphicFramePr>
            <a:graphicFrameLocks noChangeAspect="1"/>
          </p:cNvGraphicFramePr>
          <p:nvPr>
            <p:custDataLst>
              <p:tags r:id="rId2"/>
            </p:custDataLst>
            <p:extLst>
              <p:ext uri="{D42A27DB-BD31-4B8C-83A1-F6EECF244321}">
                <p14:modId xmlns:p14="http://schemas.microsoft.com/office/powerpoint/2010/main" val="40840164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7" name="think-cell Slide" r:id="rId4" imgW="520" imgH="520" progId="TCLayout.ActiveDocument.1">
                  <p:embed/>
                </p:oleObj>
              </mc:Choice>
              <mc:Fallback>
                <p:oleObj name="think-cell Slide" r:id="rId4" imgW="520" imgH="520" progId="TCLayout.ActiveDocument.1">
                  <p:embed/>
                  <p:pic>
                    <p:nvPicPr>
                      <p:cNvPr id="10" name="Object 9" hidden="1">
                        <a:extLst>
                          <a:ext uri="{FF2B5EF4-FFF2-40B4-BE49-F238E27FC236}">
                            <a16:creationId xmlns:a16="http://schemas.microsoft.com/office/drawing/2014/main" id="{1861BBCB-EE97-41D1-B372-31091BF7B8B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4" name="Picture 2" descr="http://vinhfoods.com/wp-content/uploads/2016/03/Vinh-Foods_homepage_top.jpg">
            <a:extLst>
              <a:ext uri="{FF2B5EF4-FFF2-40B4-BE49-F238E27FC236}">
                <a16:creationId xmlns:a16="http://schemas.microsoft.com/office/drawing/2014/main" id="{FE8698A5-29C4-4436-9E40-E46682B04C8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b="7621"/>
          <a:stretch/>
        </p:blipFill>
        <p:spPr bwMode="auto">
          <a:xfrm>
            <a:off x="0" y="0"/>
            <a:ext cx="12198756" cy="595843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91AF893-9094-4847-BA15-BF28423EB208}"/>
              </a:ext>
            </a:extLst>
          </p:cNvPr>
          <p:cNvSpPr/>
          <p:nvPr/>
        </p:nvSpPr>
        <p:spPr>
          <a:xfrm>
            <a:off x="6055564" y="525294"/>
            <a:ext cx="5646810" cy="3521412"/>
          </a:xfrm>
          <a:prstGeom prst="rect">
            <a:avLst/>
          </a:prstGeom>
          <a:solidFill>
            <a:srgbClr val="FFFF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3600"/>
          </a:p>
        </p:txBody>
      </p:sp>
      <p:sp>
        <p:nvSpPr>
          <p:cNvPr id="3" name="Slide Number Placeholder 2">
            <a:extLst>
              <a:ext uri="{FF2B5EF4-FFF2-40B4-BE49-F238E27FC236}">
                <a16:creationId xmlns:a16="http://schemas.microsoft.com/office/drawing/2014/main" id="{636806A2-B063-4D01-8A20-81F973FFB870}"/>
              </a:ext>
            </a:extLst>
          </p:cNvPr>
          <p:cNvSpPr>
            <a:spLocks noGrp="1"/>
          </p:cNvSpPr>
          <p:nvPr>
            <p:ph type="sldNum" sz="quarter" idx="4"/>
          </p:nvPr>
        </p:nvSpPr>
        <p:spPr>
          <a:prstGeom prst="rect">
            <a:avLst/>
          </a:prstGeom>
        </p:spPr>
        <p:txBody>
          <a:bodyPr/>
          <a:lstStyle/>
          <a:p>
            <a:fld id="{DB744C55-FBB5-4EC4-A7FE-B77A2493A9E5}" type="slidenum">
              <a:rPr lang="en-US" smtClean="0"/>
              <a:pPr/>
              <a:t>1</a:t>
            </a:fld>
            <a:endParaRPr lang="en-US"/>
          </a:p>
        </p:txBody>
      </p:sp>
      <p:sp>
        <p:nvSpPr>
          <p:cNvPr id="5" name="Text Placeholder 1">
            <a:extLst>
              <a:ext uri="{FF2B5EF4-FFF2-40B4-BE49-F238E27FC236}">
                <a16:creationId xmlns:a16="http://schemas.microsoft.com/office/drawing/2014/main" id="{D3D6B094-8382-4D30-95DF-85DE76F13C97}"/>
              </a:ext>
            </a:extLst>
          </p:cNvPr>
          <p:cNvSpPr txBox="1">
            <a:spLocks/>
          </p:cNvSpPr>
          <p:nvPr/>
        </p:nvSpPr>
        <p:spPr>
          <a:xfrm>
            <a:off x="6055564" y="666004"/>
            <a:ext cx="5556038" cy="2586198"/>
          </a:xfrm>
          <a:prstGeom prst="rect">
            <a:avLst/>
          </a:prstGeom>
        </p:spPr>
        <p:txBody>
          <a:bodyPr vert="horz" lIns="91440" tIns="45720" rIns="91440" bIns="45720" numCol="1" rtlCol="0" anchor="t">
            <a:noAutofit/>
          </a:bodyPr>
          <a:lstStyle>
            <a:lvl1pPr marL="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1pPr>
            <a:lvl2pPr marL="180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2pPr>
            <a:lvl3pPr marL="684000" indent="-228600" algn="l" defTabSz="914400" rtl="0" eaLnBrk="1" latinLnBrk="0" hangingPunct="1">
              <a:lnSpc>
                <a:spcPts val="3400"/>
              </a:lnSpc>
              <a:spcBef>
                <a:spcPts val="500"/>
              </a:spcBef>
              <a:buFont typeface="Arial"/>
              <a:buChar char="•"/>
              <a:defRPr sz="2200" kern="1200">
                <a:solidFill>
                  <a:srgbClr val="41B6E6"/>
                </a:solidFill>
                <a:latin typeface="+mn-lt"/>
                <a:ea typeface="+mn-ea"/>
                <a:cs typeface="+mn-cs"/>
              </a:defRPr>
            </a:lvl3pPr>
            <a:lvl4pPr marL="11448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4pPr>
            <a:lvl5pPr marL="15984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en-US" dirty="0">
                <a:solidFill>
                  <a:srgbClr val="0033A0"/>
                </a:solidFill>
              </a:rPr>
              <a:t>APR 2022 Update</a:t>
            </a:r>
          </a:p>
        </p:txBody>
      </p:sp>
      <p:sp>
        <p:nvSpPr>
          <p:cNvPr id="6" name="Slide Number Placeholder 3">
            <a:extLst>
              <a:ext uri="{FF2B5EF4-FFF2-40B4-BE49-F238E27FC236}">
                <a16:creationId xmlns:a16="http://schemas.microsoft.com/office/drawing/2014/main" id="{6B0880D9-32E6-44C7-B0FF-594D0C07F4A5}"/>
              </a:ext>
            </a:extLst>
          </p:cNvPr>
          <p:cNvSpPr txBox="1">
            <a:spLocks/>
          </p:cNvSpPr>
          <p:nvPr/>
        </p:nvSpPr>
        <p:spPr>
          <a:xfrm>
            <a:off x="6055564" y="2222269"/>
            <a:ext cx="5556038" cy="353595"/>
          </a:xfrm>
          <a:prstGeom prst="rect">
            <a:avLst/>
          </a:prstGeom>
        </p:spPr>
        <p:txBody>
          <a:bodyPr anchor="ctr" anchorCtr="0"/>
          <a:lstStyle>
            <a:defPPr>
              <a:defRPr lang="en-US"/>
            </a:defPPr>
            <a:lvl1pPr marL="0" algn="ctr" defTabSz="914400" rtl="0" eaLnBrk="1" latinLnBrk="0" hangingPunct="1">
              <a:lnSpc>
                <a:spcPts val="2000"/>
              </a:lnSpc>
              <a:defRPr sz="1200" kern="1200">
                <a:solidFill>
                  <a:srgbClr val="41B6E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1800"/>
          </a:p>
        </p:txBody>
      </p:sp>
      <p:sp>
        <p:nvSpPr>
          <p:cNvPr id="7" name="Slide Number Placeholder 3">
            <a:extLst>
              <a:ext uri="{FF2B5EF4-FFF2-40B4-BE49-F238E27FC236}">
                <a16:creationId xmlns:a16="http://schemas.microsoft.com/office/drawing/2014/main" id="{D9FD3896-ACC6-4855-A43C-E9FF7633C63A}"/>
              </a:ext>
            </a:extLst>
          </p:cNvPr>
          <p:cNvSpPr txBox="1">
            <a:spLocks/>
          </p:cNvSpPr>
          <p:nvPr/>
        </p:nvSpPr>
        <p:spPr>
          <a:xfrm>
            <a:off x="9163050" y="3682506"/>
            <a:ext cx="2448552" cy="353595"/>
          </a:xfrm>
          <a:prstGeom prst="rect">
            <a:avLst/>
          </a:prstGeom>
        </p:spPr>
        <p:txBody>
          <a:bodyPr anchor="ctr" anchorCtr="0"/>
          <a:lstStyle>
            <a:defPPr>
              <a:defRPr lang="en-US"/>
            </a:defPPr>
            <a:lvl1pPr marL="0" algn="ctr" defTabSz="914400" rtl="0" eaLnBrk="1" latinLnBrk="0" hangingPunct="1">
              <a:lnSpc>
                <a:spcPts val="2000"/>
              </a:lnSpc>
              <a:defRPr sz="1200" kern="1200">
                <a:solidFill>
                  <a:srgbClr val="41B6E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dirty="0">
                <a:solidFill>
                  <a:srgbClr val="BEC0CB"/>
                </a:solidFill>
              </a:rPr>
              <a:t>10 May 2022</a:t>
            </a:r>
          </a:p>
        </p:txBody>
      </p:sp>
    </p:spTree>
    <p:extLst>
      <p:ext uri="{BB962C8B-B14F-4D97-AF65-F5344CB8AC3E}">
        <p14:creationId xmlns:p14="http://schemas.microsoft.com/office/powerpoint/2010/main" val="10586432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0EF1A-C09F-42F2-9141-C956740DC1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5"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330EF1A-C09F-42F2-9141-C956740DC1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0BF6FF-F94C-4DEF-A02A-4484FCD25D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4"/>
          </p:nvPr>
        </p:nvSpPr>
        <p:spPr/>
        <p:txBody>
          <a:bodyPr/>
          <a:lstStyle/>
          <a:p>
            <a:fld id="{DB744C55-FBB5-4EC4-A7FE-B77A2493A9E5}" type="slidenum">
              <a:rPr lang="en-US" smtClean="0"/>
              <a:pPr/>
              <a:t>10</a:t>
            </a:fld>
            <a:endParaRPr lang="en-US"/>
          </a:p>
        </p:txBody>
      </p:sp>
      <p:sp>
        <p:nvSpPr>
          <p:cNvPr id="12" name="Title 1">
            <a:extLst>
              <a:ext uri="{FF2B5EF4-FFF2-40B4-BE49-F238E27FC236}">
                <a16:creationId xmlns:a16="http://schemas.microsoft.com/office/drawing/2014/main" id="{8F8AF071-CA62-456A-AF7D-7D60050B9001}"/>
              </a:ext>
            </a:extLst>
          </p:cNvPr>
          <p:cNvSpPr>
            <a:spLocks noGrp="1"/>
          </p:cNvSpPr>
          <p:nvPr>
            <p:ph type="title"/>
          </p:nvPr>
        </p:nvSpPr>
        <p:spPr>
          <a:xfrm>
            <a:off x="258792" y="189780"/>
            <a:ext cx="11598246" cy="1026000"/>
          </a:xfrm>
        </p:spPr>
        <p:txBody>
          <a:bodyPr/>
          <a:lstStyle/>
          <a:p>
            <a:r>
              <a:rPr lang="en-US"/>
              <a:t>EVENT HIGHLIGHTS</a:t>
            </a:r>
          </a:p>
        </p:txBody>
      </p:sp>
      <p:cxnSp>
        <p:nvCxnSpPr>
          <p:cNvPr id="15" name="Straight Connector 14">
            <a:extLst>
              <a:ext uri="{FF2B5EF4-FFF2-40B4-BE49-F238E27FC236}">
                <a16:creationId xmlns:a16="http://schemas.microsoft.com/office/drawing/2014/main" id="{3C64531C-3C3E-4B0D-A4B7-789542CA5B25}"/>
              </a:ext>
            </a:extLst>
          </p:cNvPr>
          <p:cNvCxnSpPr>
            <a:cxnSpLocks/>
          </p:cNvCxnSpPr>
          <p:nvPr/>
        </p:nvCxnSpPr>
        <p:spPr>
          <a:xfrm>
            <a:off x="258792" y="5164367"/>
            <a:ext cx="668534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68A175-D486-4F65-85F8-262746D32720}"/>
              </a:ext>
            </a:extLst>
          </p:cNvPr>
          <p:cNvCxnSpPr>
            <a:cxnSpLocks/>
          </p:cNvCxnSpPr>
          <p:nvPr/>
        </p:nvCxnSpPr>
        <p:spPr>
          <a:xfrm>
            <a:off x="6160982" y="812427"/>
            <a:ext cx="0" cy="57651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Rectangle: Folded Corner 42">
            <a:extLst>
              <a:ext uri="{FF2B5EF4-FFF2-40B4-BE49-F238E27FC236}">
                <a16:creationId xmlns:a16="http://schemas.microsoft.com/office/drawing/2014/main" id="{B77A828B-ADC2-4456-B519-DCB7FD02DA3A}"/>
              </a:ext>
            </a:extLst>
          </p:cNvPr>
          <p:cNvSpPr/>
          <p:nvPr/>
        </p:nvSpPr>
        <p:spPr>
          <a:xfrm>
            <a:off x="6537594" y="3816660"/>
            <a:ext cx="4682905" cy="2228540"/>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algn="just" fontAlgn="base">
              <a:lnSpc>
                <a:spcPct val="150000"/>
              </a:lnSpc>
            </a:pPr>
            <a:r>
              <a:rPr lang="en-US" sz="1600" dirty="0">
                <a:solidFill>
                  <a:srgbClr val="727073"/>
                </a:solidFill>
                <a:latin typeface="Arial (headings)"/>
              </a:rPr>
              <a:t>Madam Khanh – Founder and Chairwoman, Mrs. Tam Nguyen – CEO, Mrs. Diep Lam – Director of </a:t>
            </a:r>
            <a:r>
              <a:rPr lang="en-US" sz="1600" dirty="0" err="1">
                <a:solidFill>
                  <a:srgbClr val="727073"/>
                </a:solidFill>
                <a:latin typeface="Arial (headings)"/>
              </a:rPr>
              <a:t>FeedOne</a:t>
            </a:r>
            <a:r>
              <a:rPr lang="en-US" sz="1600" dirty="0">
                <a:solidFill>
                  <a:srgbClr val="727073"/>
                </a:solidFill>
                <a:latin typeface="Arial (headings)"/>
              </a:rPr>
              <a:t>, and Mr. Duc Vo - Director of Vinh Hoan Collagen had an exciting visit to the </a:t>
            </a:r>
            <a:r>
              <a:rPr lang="en-US" sz="1600" dirty="0" err="1">
                <a:solidFill>
                  <a:srgbClr val="727073"/>
                </a:solidFill>
                <a:latin typeface="Arial (headings)"/>
              </a:rPr>
              <a:t>Entobel</a:t>
            </a:r>
            <a:r>
              <a:rPr lang="en-US" sz="1600" dirty="0">
                <a:solidFill>
                  <a:srgbClr val="727073"/>
                </a:solidFill>
                <a:latin typeface="Arial (headings)"/>
              </a:rPr>
              <a:t> factory.</a:t>
            </a:r>
            <a:r>
              <a:rPr lang="en-US" sz="1400" i="1" dirty="0">
                <a:solidFill>
                  <a:srgbClr val="727073"/>
                </a:solidFill>
                <a:latin typeface="Arial (headings)"/>
              </a:rPr>
              <a:t>	</a:t>
            </a:r>
          </a:p>
          <a:p>
            <a:pPr algn="just" fontAlgn="base">
              <a:lnSpc>
                <a:spcPct val="150000"/>
              </a:lnSpc>
            </a:pPr>
            <a:r>
              <a:rPr lang="en-US" sz="1400" i="1" dirty="0">
                <a:solidFill>
                  <a:srgbClr val="727073"/>
                </a:solidFill>
                <a:latin typeface="Arial (headings)"/>
              </a:rPr>
              <a:t>                          28 Apr 2022, Vietnam</a:t>
            </a:r>
          </a:p>
        </p:txBody>
      </p:sp>
      <p:pic>
        <p:nvPicPr>
          <p:cNvPr id="6" name="Picture 5">
            <a:extLst>
              <a:ext uri="{FF2B5EF4-FFF2-40B4-BE49-F238E27FC236}">
                <a16:creationId xmlns:a16="http://schemas.microsoft.com/office/drawing/2014/main" id="{200EBD2D-1CDB-82D8-7C28-7BBB9329EB25}"/>
              </a:ext>
            </a:extLst>
          </p:cNvPr>
          <p:cNvPicPr>
            <a:picLocks noChangeAspect="1"/>
          </p:cNvPicPr>
          <p:nvPr/>
        </p:nvPicPr>
        <p:blipFill>
          <a:blip r:embed="rId8"/>
          <a:stretch>
            <a:fillRect/>
          </a:stretch>
        </p:blipFill>
        <p:spPr>
          <a:xfrm>
            <a:off x="334962" y="846968"/>
            <a:ext cx="5696057" cy="4055166"/>
          </a:xfrm>
          <a:prstGeom prst="rect">
            <a:avLst/>
          </a:prstGeom>
        </p:spPr>
      </p:pic>
    </p:spTree>
    <p:extLst>
      <p:ext uri="{BB962C8B-B14F-4D97-AF65-F5344CB8AC3E}">
        <p14:creationId xmlns:p14="http://schemas.microsoft.com/office/powerpoint/2010/main" val="69273482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0EF1A-C09F-42F2-9141-C956740DC1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9"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330EF1A-C09F-42F2-9141-C956740DC1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0BF6FF-F94C-4DEF-A02A-4484FCD25D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4"/>
          </p:nvPr>
        </p:nvSpPr>
        <p:spPr/>
        <p:txBody>
          <a:bodyPr/>
          <a:lstStyle/>
          <a:p>
            <a:fld id="{DB744C55-FBB5-4EC4-A7FE-B77A2493A9E5}" type="slidenum">
              <a:rPr lang="en-US" smtClean="0"/>
              <a:pPr/>
              <a:t>11</a:t>
            </a:fld>
            <a:endParaRPr lang="en-US"/>
          </a:p>
        </p:txBody>
      </p:sp>
      <p:sp>
        <p:nvSpPr>
          <p:cNvPr id="12" name="Title 1">
            <a:extLst>
              <a:ext uri="{FF2B5EF4-FFF2-40B4-BE49-F238E27FC236}">
                <a16:creationId xmlns:a16="http://schemas.microsoft.com/office/drawing/2014/main" id="{8F8AF071-CA62-456A-AF7D-7D60050B9001}"/>
              </a:ext>
            </a:extLst>
          </p:cNvPr>
          <p:cNvSpPr>
            <a:spLocks noGrp="1"/>
          </p:cNvSpPr>
          <p:nvPr>
            <p:ph type="title"/>
          </p:nvPr>
        </p:nvSpPr>
        <p:spPr>
          <a:xfrm>
            <a:off x="258792" y="189780"/>
            <a:ext cx="11598246" cy="1026000"/>
          </a:xfrm>
        </p:spPr>
        <p:txBody>
          <a:bodyPr/>
          <a:lstStyle/>
          <a:p>
            <a:r>
              <a:rPr lang="en-US"/>
              <a:t>EVENT HIGHLIGHTS</a:t>
            </a:r>
          </a:p>
        </p:txBody>
      </p:sp>
      <p:cxnSp>
        <p:nvCxnSpPr>
          <p:cNvPr id="15" name="Straight Connector 14">
            <a:extLst>
              <a:ext uri="{FF2B5EF4-FFF2-40B4-BE49-F238E27FC236}">
                <a16:creationId xmlns:a16="http://schemas.microsoft.com/office/drawing/2014/main" id="{3C64531C-3C3E-4B0D-A4B7-789542CA5B25}"/>
              </a:ext>
            </a:extLst>
          </p:cNvPr>
          <p:cNvCxnSpPr>
            <a:cxnSpLocks/>
          </p:cNvCxnSpPr>
          <p:nvPr/>
        </p:nvCxnSpPr>
        <p:spPr>
          <a:xfrm>
            <a:off x="258792" y="5224703"/>
            <a:ext cx="668534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68A175-D486-4F65-85F8-262746D32720}"/>
              </a:ext>
            </a:extLst>
          </p:cNvPr>
          <p:cNvCxnSpPr>
            <a:cxnSpLocks/>
          </p:cNvCxnSpPr>
          <p:nvPr/>
        </p:nvCxnSpPr>
        <p:spPr>
          <a:xfrm>
            <a:off x="6160982" y="812427"/>
            <a:ext cx="0" cy="57651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Rectangle: Folded Corner 42">
            <a:extLst>
              <a:ext uri="{FF2B5EF4-FFF2-40B4-BE49-F238E27FC236}">
                <a16:creationId xmlns:a16="http://schemas.microsoft.com/office/drawing/2014/main" id="{B77A828B-ADC2-4456-B519-DCB7FD02DA3A}"/>
              </a:ext>
            </a:extLst>
          </p:cNvPr>
          <p:cNvSpPr/>
          <p:nvPr/>
        </p:nvSpPr>
        <p:spPr>
          <a:xfrm>
            <a:off x="6566567" y="3871809"/>
            <a:ext cx="4682905" cy="2600111"/>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algn="just" fontAlgn="base">
              <a:lnSpc>
                <a:spcPct val="150000"/>
              </a:lnSpc>
            </a:pPr>
            <a:r>
              <a:rPr lang="en-US" sz="1600" dirty="0">
                <a:solidFill>
                  <a:srgbClr val="727073"/>
                </a:solidFill>
                <a:latin typeface="Arial (headings)"/>
              </a:rPr>
              <a:t>The Shiok Meats team who had visited Vinh </a:t>
            </a:r>
            <a:r>
              <a:rPr lang="en-US" sz="1600" dirty="0" err="1">
                <a:solidFill>
                  <a:srgbClr val="727073"/>
                </a:solidFill>
                <a:latin typeface="Arial (headings)"/>
              </a:rPr>
              <a:t>Hoan’s</a:t>
            </a:r>
            <a:r>
              <a:rPr lang="en-US" sz="1600" dirty="0">
                <a:solidFill>
                  <a:srgbClr val="727073"/>
                </a:solidFill>
                <a:latin typeface="Arial (headings)"/>
              </a:rPr>
              <a:t> factories in Cao </a:t>
            </a:r>
            <a:r>
              <a:rPr lang="en-US" sz="1600" dirty="0" err="1">
                <a:solidFill>
                  <a:srgbClr val="727073"/>
                </a:solidFill>
                <a:latin typeface="Arial (headings)"/>
              </a:rPr>
              <a:t>Lanh</a:t>
            </a:r>
            <a:r>
              <a:rPr lang="en-US" sz="1600" dirty="0">
                <a:solidFill>
                  <a:srgbClr val="727073"/>
                </a:solidFill>
                <a:latin typeface="Arial (headings)"/>
              </a:rPr>
              <a:t> City, Dong </a:t>
            </a:r>
            <a:r>
              <a:rPr lang="en-US" sz="1600" dirty="0" err="1">
                <a:solidFill>
                  <a:srgbClr val="727073"/>
                </a:solidFill>
                <a:latin typeface="Arial (headings)"/>
              </a:rPr>
              <a:t>Thap</a:t>
            </a:r>
            <a:r>
              <a:rPr lang="en-US" sz="1600" dirty="0">
                <a:solidFill>
                  <a:srgbClr val="727073"/>
                </a:solidFill>
                <a:latin typeface="Arial (headings)"/>
              </a:rPr>
              <a:t> province. Shiok Meats is a company Vinh Technology invested in specializing in cultivated crustaceans the first of its kind in Singapore and South-East Asia. </a:t>
            </a:r>
            <a:r>
              <a:rPr lang="en-US" sz="1400" i="1" dirty="0">
                <a:solidFill>
                  <a:srgbClr val="727073"/>
                </a:solidFill>
                <a:latin typeface="Arial (headings)"/>
              </a:rPr>
              <a:t>                          	</a:t>
            </a:r>
          </a:p>
          <a:p>
            <a:pPr algn="ctr" fontAlgn="base">
              <a:lnSpc>
                <a:spcPct val="150000"/>
              </a:lnSpc>
            </a:pPr>
            <a:r>
              <a:rPr lang="en-US" sz="1400" i="1" dirty="0">
                <a:solidFill>
                  <a:srgbClr val="727073"/>
                </a:solidFill>
                <a:latin typeface="Arial (headings)"/>
              </a:rPr>
              <a:t> Apr 2022, Vietnam</a:t>
            </a:r>
          </a:p>
        </p:txBody>
      </p:sp>
      <p:pic>
        <p:nvPicPr>
          <p:cNvPr id="7" name="Picture 6">
            <a:extLst>
              <a:ext uri="{FF2B5EF4-FFF2-40B4-BE49-F238E27FC236}">
                <a16:creationId xmlns:a16="http://schemas.microsoft.com/office/drawing/2014/main" id="{A4536743-A28E-DE38-C521-F2D0E411B37A}"/>
              </a:ext>
            </a:extLst>
          </p:cNvPr>
          <p:cNvPicPr>
            <a:picLocks noChangeAspect="1"/>
          </p:cNvPicPr>
          <p:nvPr/>
        </p:nvPicPr>
        <p:blipFill>
          <a:blip r:embed="rId8"/>
          <a:stretch>
            <a:fillRect/>
          </a:stretch>
        </p:blipFill>
        <p:spPr>
          <a:xfrm>
            <a:off x="354471" y="992627"/>
            <a:ext cx="5710833" cy="4082953"/>
          </a:xfrm>
          <a:prstGeom prst="rect">
            <a:avLst/>
          </a:prstGeom>
        </p:spPr>
      </p:pic>
    </p:spTree>
    <p:extLst>
      <p:ext uri="{BB962C8B-B14F-4D97-AF65-F5344CB8AC3E}">
        <p14:creationId xmlns:p14="http://schemas.microsoft.com/office/powerpoint/2010/main" val="26193030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0EF1A-C09F-42F2-9141-C956740DC1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3"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330EF1A-C09F-42F2-9141-C956740DC1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0BF6FF-F94C-4DEF-A02A-4484FCD25D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4"/>
          </p:nvPr>
        </p:nvSpPr>
        <p:spPr/>
        <p:txBody>
          <a:bodyPr/>
          <a:lstStyle/>
          <a:p>
            <a:fld id="{DB744C55-FBB5-4EC4-A7FE-B77A2493A9E5}" type="slidenum">
              <a:rPr lang="en-US" smtClean="0"/>
              <a:pPr/>
              <a:t>12</a:t>
            </a:fld>
            <a:endParaRPr lang="en-US"/>
          </a:p>
        </p:txBody>
      </p:sp>
      <p:sp>
        <p:nvSpPr>
          <p:cNvPr id="12" name="Title 1">
            <a:extLst>
              <a:ext uri="{FF2B5EF4-FFF2-40B4-BE49-F238E27FC236}">
                <a16:creationId xmlns:a16="http://schemas.microsoft.com/office/drawing/2014/main" id="{8F8AF071-CA62-456A-AF7D-7D60050B9001}"/>
              </a:ext>
            </a:extLst>
          </p:cNvPr>
          <p:cNvSpPr>
            <a:spLocks noGrp="1"/>
          </p:cNvSpPr>
          <p:nvPr>
            <p:ph type="title"/>
          </p:nvPr>
        </p:nvSpPr>
        <p:spPr>
          <a:xfrm>
            <a:off x="258792" y="189780"/>
            <a:ext cx="11598246" cy="1026000"/>
          </a:xfrm>
        </p:spPr>
        <p:txBody>
          <a:bodyPr/>
          <a:lstStyle/>
          <a:p>
            <a:r>
              <a:rPr lang="en-US"/>
              <a:t>EVENT HIGHLIGHTS</a:t>
            </a:r>
          </a:p>
        </p:txBody>
      </p:sp>
      <p:cxnSp>
        <p:nvCxnSpPr>
          <p:cNvPr id="15" name="Straight Connector 14">
            <a:extLst>
              <a:ext uri="{FF2B5EF4-FFF2-40B4-BE49-F238E27FC236}">
                <a16:creationId xmlns:a16="http://schemas.microsoft.com/office/drawing/2014/main" id="{3C64531C-3C3E-4B0D-A4B7-789542CA5B25}"/>
              </a:ext>
            </a:extLst>
          </p:cNvPr>
          <p:cNvCxnSpPr>
            <a:cxnSpLocks/>
          </p:cNvCxnSpPr>
          <p:nvPr/>
        </p:nvCxnSpPr>
        <p:spPr>
          <a:xfrm>
            <a:off x="351557" y="5025921"/>
            <a:ext cx="1137661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68A175-D486-4F65-85F8-262746D32720}"/>
              </a:ext>
            </a:extLst>
          </p:cNvPr>
          <p:cNvCxnSpPr>
            <a:cxnSpLocks/>
          </p:cNvCxnSpPr>
          <p:nvPr/>
        </p:nvCxnSpPr>
        <p:spPr>
          <a:xfrm>
            <a:off x="6160982" y="812427"/>
            <a:ext cx="0" cy="57651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Rectangle: Folded Corner 42">
            <a:extLst>
              <a:ext uri="{FF2B5EF4-FFF2-40B4-BE49-F238E27FC236}">
                <a16:creationId xmlns:a16="http://schemas.microsoft.com/office/drawing/2014/main" id="{B77A828B-ADC2-4456-B519-DCB7FD02DA3A}"/>
              </a:ext>
            </a:extLst>
          </p:cNvPr>
          <p:cNvSpPr/>
          <p:nvPr/>
        </p:nvSpPr>
        <p:spPr>
          <a:xfrm>
            <a:off x="2841312" y="5066080"/>
            <a:ext cx="6902128" cy="1551675"/>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algn="just" fontAlgn="base">
              <a:lnSpc>
                <a:spcPct val="150000"/>
              </a:lnSpc>
            </a:pPr>
            <a:r>
              <a:rPr lang="en-US" sz="1600" dirty="0">
                <a:solidFill>
                  <a:srgbClr val="727073"/>
                </a:solidFill>
                <a:latin typeface="Arial (headings)"/>
              </a:rPr>
              <a:t>Ms. Hoa Truong – Chief Sales Officer, and representatives of Vinh Hoan Corporation, participated in Seafood Expo Global 2022 and showcased our products and innovations in aquaculture and agriculture.</a:t>
            </a:r>
          </a:p>
          <a:p>
            <a:pPr algn="ctr" fontAlgn="base">
              <a:lnSpc>
                <a:spcPct val="150000"/>
              </a:lnSpc>
            </a:pPr>
            <a:r>
              <a:rPr lang="en-US" sz="1400" i="1" dirty="0">
                <a:solidFill>
                  <a:srgbClr val="727073"/>
                </a:solidFill>
                <a:latin typeface="Arial (headings)"/>
              </a:rPr>
              <a:t>Apr 2022, Vietnam</a:t>
            </a:r>
          </a:p>
        </p:txBody>
      </p:sp>
      <p:pic>
        <p:nvPicPr>
          <p:cNvPr id="6" name="Picture 5">
            <a:extLst>
              <a:ext uri="{FF2B5EF4-FFF2-40B4-BE49-F238E27FC236}">
                <a16:creationId xmlns:a16="http://schemas.microsoft.com/office/drawing/2014/main" id="{BE66BA3E-3EEB-F8C3-366C-B5138D765500}"/>
              </a:ext>
            </a:extLst>
          </p:cNvPr>
          <p:cNvPicPr>
            <a:picLocks noChangeAspect="1"/>
          </p:cNvPicPr>
          <p:nvPr/>
        </p:nvPicPr>
        <p:blipFill>
          <a:blip r:embed="rId8"/>
          <a:stretch>
            <a:fillRect/>
          </a:stretch>
        </p:blipFill>
        <p:spPr>
          <a:xfrm>
            <a:off x="463829" y="812427"/>
            <a:ext cx="5300867" cy="3970618"/>
          </a:xfrm>
          <a:prstGeom prst="rect">
            <a:avLst/>
          </a:prstGeom>
        </p:spPr>
      </p:pic>
      <p:pic>
        <p:nvPicPr>
          <p:cNvPr id="8" name="Picture 7">
            <a:extLst>
              <a:ext uri="{FF2B5EF4-FFF2-40B4-BE49-F238E27FC236}">
                <a16:creationId xmlns:a16="http://schemas.microsoft.com/office/drawing/2014/main" id="{4EFA6B70-EDAF-09C7-F34D-7B1F09C6DD95}"/>
              </a:ext>
            </a:extLst>
          </p:cNvPr>
          <p:cNvPicPr>
            <a:picLocks noChangeAspect="1"/>
          </p:cNvPicPr>
          <p:nvPr/>
        </p:nvPicPr>
        <p:blipFill>
          <a:blip r:embed="rId9"/>
          <a:stretch>
            <a:fillRect/>
          </a:stretch>
        </p:blipFill>
        <p:spPr>
          <a:xfrm>
            <a:off x="6557268" y="812428"/>
            <a:ext cx="5170903" cy="3970617"/>
          </a:xfrm>
          <a:prstGeom prst="rect">
            <a:avLst/>
          </a:prstGeom>
        </p:spPr>
      </p:pic>
    </p:spTree>
    <p:extLst>
      <p:ext uri="{BB962C8B-B14F-4D97-AF65-F5344CB8AC3E}">
        <p14:creationId xmlns:p14="http://schemas.microsoft.com/office/powerpoint/2010/main" val="33024021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122775-E9AA-492A-BB00-202910A07E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7" name="think-cell Slide" r:id="rId5" imgW="520" imgH="520" progId="TCLayout.ActiveDocument.1">
                  <p:embed/>
                </p:oleObj>
              </mc:Choice>
              <mc:Fallback>
                <p:oleObj name="think-cell Slide" r:id="rId5" imgW="520" imgH="520" progId="TCLayout.ActiveDocument.1">
                  <p:embed/>
                  <p:pic>
                    <p:nvPicPr>
                      <p:cNvPr id="6" name="Object 5" hidden="1">
                        <a:extLst>
                          <a:ext uri="{FF2B5EF4-FFF2-40B4-BE49-F238E27FC236}">
                            <a16:creationId xmlns:a16="http://schemas.microsoft.com/office/drawing/2014/main" id="{93122775-E9AA-492A-BB00-202910A07E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3C8790B-A8EA-490B-BC43-8B5A2F3608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pic>
        <p:nvPicPr>
          <p:cNvPr id="10" name="Picture 2" descr="http://vinhfoods.com/wp-content/uploads/2016/03/Vinh-Foods_homepage_untreated.jpg">
            <a:extLst>
              <a:ext uri="{FF2B5EF4-FFF2-40B4-BE49-F238E27FC236}">
                <a16:creationId xmlns:a16="http://schemas.microsoft.com/office/drawing/2014/main" id="{6A90DF0F-DC55-4EC3-A8C5-0B67725D2BEF}"/>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7340"/>
          <a:stretch/>
        </p:blipFill>
        <p:spPr bwMode="auto">
          <a:xfrm>
            <a:off x="0" y="0"/>
            <a:ext cx="12192000" cy="5976579"/>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E94E848-C6AC-4868-B4AE-BE8831693AC9}"/>
              </a:ext>
            </a:extLst>
          </p:cNvPr>
          <p:cNvSpPr>
            <a:spLocks noGrp="1"/>
          </p:cNvSpPr>
          <p:nvPr>
            <p:ph type="sldNum" sz="quarter" idx="4"/>
          </p:nvPr>
        </p:nvSpPr>
        <p:spPr>
          <a:prstGeom prst="rect">
            <a:avLst/>
          </a:prstGeom>
        </p:spPr>
        <p:txBody>
          <a:bodyPr/>
          <a:lstStyle/>
          <a:p>
            <a:fld id="{DB744C55-FBB5-4EC4-A7FE-B77A2493A9E5}" type="slidenum">
              <a:rPr lang="en-US" smtClean="0"/>
              <a:pPr/>
              <a:t>13</a:t>
            </a:fld>
            <a:endParaRPr lang="en-US"/>
          </a:p>
        </p:txBody>
      </p:sp>
      <p:sp>
        <p:nvSpPr>
          <p:cNvPr id="23" name="Rectangle">
            <a:extLst>
              <a:ext uri="{FF2B5EF4-FFF2-40B4-BE49-F238E27FC236}">
                <a16:creationId xmlns:a16="http://schemas.microsoft.com/office/drawing/2014/main" id="{FA97EEEA-EEBB-4904-BEC9-1EBFD8645B1B}"/>
              </a:ext>
            </a:extLst>
          </p:cNvPr>
          <p:cNvSpPr/>
          <p:nvPr/>
        </p:nvSpPr>
        <p:spPr>
          <a:xfrm>
            <a:off x="0" y="-12991"/>
            <a:ext cx="12191999" cy="5989570"/>
          </a:xfrm>
          <a:prstGeom prst="rect">
            <a:avLst/>
          </a:prstGeom>
          <a:solidFill>
            <a:srgbClr val="242C35">
              <a:alpha val="40000"/>
            </a:srgbClr>
          </a:solidFill>
          <a:ln w="12700">
            <a:miter lim="400000"/>
          </a:ln>
        </p:spPr>
        <p:txBody>
          <a:bodyPr lIns="45719" rIns="45719" anchor="ctr"/>
          <a:lstStyle/>
          <a:p>
            <a:pPr algn="ctr">
              <a:defRPr sz="2700">
                <a:solidFill>
                  <a:srgbClr val="FFFFFF"/>
                </a:solidFill>
                <a:latin typeface="+mj-lt"/>
                <a:ea typeface="+mj-ea"/>
                <a:cs typeface="+mj-cs"/>
                <a:sym typeface="Helvetica"/>
              </a:defRPr>
            </a:pPr>
            <a:endParaRPr/>
          </a:p>
        </p:txBody>
      </p:sp>
      <p:sp>
        <p:nvSpPr>
          <p:cNvPr id="11" name="Text Placeholder 1">
            <a:extLst>
              <a:ext uri="{FF2B5EF4-FFF2-40B4-BE49-F238E27FC236}">
                <a16:creationId xmlns:a16="http://schemas.microsoft.com/office/drawing/2014/main" id="{E11BFD3D-8B20-4E3B-BE41-C2D731944E37}"/>
              </a:ext>
            </a:extLst>
          </p:cNvPr>
          <p:cNvSpPr txBox="1">
            <a:spLocks/>
          </p:cNvSpPr>
          <p:nvPr/>
        </p:nvSpPr>
        <p:spPr>
          <a:xfrm>
            <a:off x="6238874" y="666004"/>
            <a:ext cx="5372727" cy="1387733"/>
          </a:xfrm>
          <a:prstGeom prst="rect">
            <a:avLst/>
          </a:prstGeom>
        </p:spPr>
        <p:txBody>
          <a:bodyPr vert="horz" lIns="91440" tIns="45720" rIns="91440" bIns="45720" numCol="1" rtlCol="0">
            <a:normAutofit/>
          </a:bodyPr>
          <a:lstStyle>
            <a:lvl1pPr marL="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1pPr>
            <a:lvl2pPr marL="180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2pPr>
            <a:lvl3pPr marL="684000" indent="-228600" algn="l" defTabSz="914400" rtl="0" eaLnBrk="1" latinLnBrk="0" hangingPunct="1">
              <a:lnSpc>
                <a:spcPts val="3400"/>
              </a:lnSpc>
              <a:spcBef>
                <a:spcPts val="500"/>
              </a:spcBef>
              <a:buFont typeface="Arial"/>
              <a:buChar char="•"/>
              <a:defRPr sz="2200" kern="1200">
                <a:solidFill>
                  <a:srgbClr val="41B6E6"/>
                </a:solidFill>
                <a:latin typeface="+mn-lt"/>
                <a:ea typeface="+mn-ea"/>
                <a:cs typeface="+mn-cs"/>
              </a:defRPr>
            </a:lvl3pPr>
            <a:lvl4pPr marL="11448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4pPr>
            <a:lvl5pPr marL="15984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en-US">
                <a:solidFill>
                  <a:schemeClr val="bg1"/>
                </a:solidFill>
              </a:rPr>
              <a:t>NEWS CLIPPING</a:t>
            </a:r>
          </a:p>
        </p:txBody>
      </p:sp>
    </p:spTree>
    <p:extLst>
      <p:ext uri="{BB962C8B-B14F-4D97-AF65-F5344CB8AC3E}">
        <p14:creationId xmlns:p14="http://schemas.microsoft.com/office/powerpoint/2010/main" val="4320996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0EF1A-C09F-42F2-9141-C956740DC1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1"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330EF1A-C09F-42F2-9141-C956740DC1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0BF6FF-F94C-4DEF-A02A-4484FCD25D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4"/>
          </p:nvPr>
        </p:nvSpPr>
        <p:spPr/>
        <p:txBody>
          <a:bodyPr/>
          <a:lstStyle/>
          <a:p>
            <a:fld id="{DB744C55-FBB5-4EC4-A7FE-B77A2493A9E5}" type="slidenum">
              <a:rPr lang="en-US" smtClean="0"/>
              <a:pPr/>
              <a:t>14</a:t>
            </a:fld>
            <a:endParaRPr lang="en-US"/>
          </a:p>
        </p:txBody>
      </p:sp>
      <p:sp>
        <p:nvSpPr>
          <p:cNvPr id="5" name="Title 1">
            <a:extLst>
              <a:ext uri="{FF2B5EF4-FFF2-40B4-BE49-F238E27FC236}">
                <a16:creationId xmlns:a16="http://schemas.microsoft.com/office/drawing/2014/main" id="{FBE6D7BF-B16E-46C7-82B0-9C1928835523}"/>
              </a:ext>
            </a:extLst>
          </p:cNvPr>
          <p:cNvSpPr>
            <a:spLocks noGrp="1"/>
          </p:cNvSpPr>
          <p:nvPr>
            <p:ph type="title"/>
          </p:nvPr>
        </p:nvSpPr>
        <p:spPr>
          <a:xfrm>
            <a:off x="258792" y="-9000"/>
            <a:ext cx="11580993" cy="1026000"/>
          </a:xfrm>
        </p:spPr>
        <p:txBody>
          <a:bodyPr/>
          <a:lstStyle/>
          <a:p>
            <a:r>
              <a:rPr lang="en-HK" dirty="0"/>
              <a:t>NEWS clipping</a:t>
            </a:r>
            <a:endParaRPr lang="en-GB" dirty="0"/>
          </a:p>
        </p:txBody>
      </p:sp>
      <p:sp>
        <p:nvSpPr>
          <p:cNvPr id="9" name="Rectangle: Folded Corner 42">
            <a:extLst>
              <a:ext uri="{FF2B5EF4-FFF2-40B4-BE49-F238E27FC236}">
                <a16:creationId xmlns:a16="http://schemas.microsoft.com/office/drawing/2014/main" id="{077F4FC6-2E76-48D8-8797-51CD0910CEB2}"/>
              </a:ext>
            </a:extLst>
          </p:cNvPr>
          <p:cNvSpPr/>
          <p:nvPr/>
        </p:nvSpPr>
        <p:spPr>
          <a:xfrm>
            <a:off x="230295" y="2246243"/>
            <a:ext cx="5667585" cy="4571117"/>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fontAlgn="base"/>
            <a:r>
              <a:rPr lang="en-US" sz="1200" b="1" dirty="0"/>
              <a:t>After two year pent-up demand, pangasius exports are expected to explode</a:t>
            </a:r>
            <a:br>
              <a:rPr lang="en-US" sz="1200" dirty="0"/>
            </a:br>
            <a:endParaRPr lang="en-US" sz="1200" dirty="0"/>
          </a:p>
          <a:p>
            <a:pPr lvl="0" algn="just">
              <a:lnSpc>
                <a:spcPct val="150000"/>
              </a:lnSpc>
            </a:pPr>
            <a:r>
              <a:rPr lang="en-US" sz="1200" dirty="0">
                <a:solidFill>
                  <a:srgbClr val="727073"/>
                </a:solidFill>
                <a:latin typeface="Arial (Body)"/>
              </a:rPr>
              <a:t>“…</a:t>
            </a:r>
          </a:p>
          <a:p>
            <a:pPr lvl="0" algn="just">
              <a:lnSpc>
                <a:spcPct val="150000"/>
              </a:lnSpc>
            </a:pPr>
            <a:r>
              <a:rPr lang="en-US" sz="1200" dirty="0">
                <a:solidFill>
                  <a:srgbClr val="727073"/>
                </a:solidFill>
                <a:latin typeface="Arial (Body)"/>
              </a:rPr>
              <a:t>After being affected by the industry downturn (2019) and two years of being affected by diseases and broken supply chains (2020 - 2021), BSC (BIDV Securities Company) believes that the pangasius industry will enter an uptrend in 2022. BSC believes that the demand for pangasius in key markets such as the US, China and the EU will grow strongly after a long suppression by COVID-19 and the vaccine coverage rate is over 60% of the population.</a:t>
            </a:r>
          </a:p>
          <a:p>
            <a:pPr lvl="0" algn="just"/>
            <a:r>
              <a:rPr lang="en-US" sz="1200" i="1" dirty="0">
                <a:solidFill>
                  <a:srgbClr val="727073"/>
                </a:solidFill>
                <a:latin typeface="Arial (Body)"/>
              </a:rPr>
              <a:t>…</a:t>
            </a:r>
          </a:p>
          <a:p>
            <a:pPr algn="just">
              <a:lnSpc>
                <a:spcPct val="150000"/>
              </a:lnSpc>
            </a:pPr>
            <a:r>
              <a:rPr lang="en-US" sz="1200" dirty="0">
                <a:solidFill>
                  <a:srgbClr val="727073"/>
                </a:solidFill>
                <a:latin typeface="Arial (Body)"/>
              </a:rPr>
              <a:t>In addition, the sanctions banning seafood imports from Russia by Western countries is expected to increase the demand for alternative seafood products from other countries (including Vietnam) in markets. US and EU.</a:t>
            </a:r>
          </a:p>
          <a:p>
            <a:pPr algn="just">
              <a:lnSpc>
                <a:spcPct val="150000"/>
              </a:lnSpc>
            </a:pPr>
            <a:r>
              <a:rPr lang="en-US" sz="1200" dirty="0">
                <a:solidFill>
                  <a:srgbClr val="727073"/>
                </a:solidFill>
                <a:latin typeface="Arial (Body)"/>
              </a:rPr>
              <a:t>…”</a:t>
            </a:r>
          </a:p>
          <a:p>
            <a:pPr lvl="0" algn="just"/>
            <a:endParaRPr lang="en-US" sz="1200" i="1" dirty="0">
              <a:solidFill>
                <a:srgbClr val="727073"/>
              </a:solidFill>
              <a:latin typeface="Arial (Body)"/>
            </a:endParaRPr>
          </a:p>
          <a:p>
            <a:pPr lvl="0" algn="just"/>
            <a:endParaRPr lang="en-US" sz="1200" i="1" dirty="0">
              <a:solidFill>
                <a:srgbClr val="727073"/>
              </a:solidFill>
              <a:latin typeface="Arial (Body)"/>
            </a:endParaRPr>
          </a:p>
          <a:p>
            <a:pPr lvl="0" algn="just"/>
            <a:r>
              <a:rPr lang="en-US" sz="1200" i="1" dirty="0">
                <a:solidFill>
                  <a:srgbClr val="727073"/>
                </a:solidFill>
                <a:latin typeface="Arial (Body)"/>
              </a:rPr>
              <a:t>VASEP, 20 Apr 2022</a:t>
            </a:r>
          </a:p>
        </p:txBody>
      </p:sp>
      <p:sp>
        <p:nvSpPr>
          <p:cNvPr id="7" name="Rectangle: Folded Corner 42">
            <a:extLst>
              <a:ext uri="{FF2B5EF4-FFF2-40B4-BE49-F238E27FC236}">
                <a16:creationId xmlns:a16="http://schemas.microsoft.com/office/drawing/2014/main" id="{867CCCA5-A798-4660-B5FA-DF8C70641B5E}"/>
              </a:ext>
            </a:extLst>
          </p:cNvPr>
          <p:cNvSpPr/>
          <p:nvPr/>
        </p:nvSpPr>
        <p:spPr>
          <a:xfrm>
            <a:off x="6048297" y="2246243"/>
            <a:ext cx="6006831" cy="4571117"/>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fontAlgn="base"/>
            <a:r>
              <a:rPr lang="en-US" sz="1200" b="1" i="0" dirty="0">
                <a:solidFill>
                  <a:srgbClr val="727073"/>
                </a:solidFill>
                <a:effectLst/>
              </a:rPr>
              <a:t>China’s middle class increasingly choosing seafood as pork consumption declines</a:t>
            </a:r>
          </a:p>
          <a:p>
            <a:pPr fontAlgn="base"/>
            <a:endParaRPr lang="en-US" sz="1200" dirty="0"/>
          </a:p>
          <a:p>
            <a:pPr lvl="0" algn="just">
              <a:lnSpc>
                <a:spcPct val="150000"/>
              </a:lnSpc>
            </a:pPr>
            <a:r>
              <a:rPr lang="en-US" sz="1200" dirty="0">
                <a:solidFill>
                  <a:srgbClr val="727073"/>
                </a:solidFill>
                <a:latin typeface="Arial (Body)"/>
              </a:rPr>
              <a:t>“…</a:t>
            </a:r>
          </a:p>
          <a:p>
            <a:pPr algn="just">
              <a:lnSpc>
                <a:spcPct val="150000"/>
              </a:lnSpc>
            </a:pPr>
            <a:r>
              <a:rPr lang="en-US" sz="1200" dirty="0">
                <a:solidFill>
                  <a:srgbClr val="727073"/>
                </a:solidFill>
                <a:latin typeface="Arial (Body)"/>
              </a:rPr>
              <a:t>Pork has long been considered the bedrock protein of the Chinese diet, and is typically cheaper than seafood. With price being a primary motivator for Chinese consumers, seafood has often lost out, but the correlation between the two appears to have become unhitched as the average Chinese income has risen, giving more consumers the ability to choose seafood as a healthier dietary option.</a:t>
            </a:r>
          </a:p>
          <a:p>
            <a:pPr lvl="0" algn="just">
              <a:lnSpc>
                <a:spcPct val="150000"/>
              </a:lnSpc>
            </a:pPr>
            <a:r>
              <a:rPr lang="en-US" sz="1200" dirty="0">
                <a:solidFill>
                  <a:srgbClr val="727073"/>
                </a:solidFill>
                <a:latin typeface="Arial (Body)"/>
              </a:rPr>
              <a:t>…</a:t>
            </a:r>
          </a:p>
          <a:p>
            <a:pPr lvl="0" algn="just">
              <a:lnSpc>
                <a:spcPct val="150000"/>
              </a:lnSpc>
            </a:pPr>
            <a:r>
              <a:rPr lang="en-US" sz="1200" dirty="0">
                <a:solidFill>
                  <a:srgbClr val="727073"/>
                </a:solidFill>
                <a:latin typeface="Arial (Body)"/>
              </a:rPr>
              <a:t>The eclipsing of pork by seafood has prompted a surge in interest in seafood stocks among the country’s many retail investors, who have also watched as the Chinese government </a:t>
            </a:r>
            <a:r>
              <a:rPr lang="en-US" sz="1200" dirty="0">
                <a:solidFill>
                  <a:srgbClr val="727073"/>
                </a:solidFill>
                <a:latin typeface="Arial (Body)"/>
                <a:hlinkClick r:id="rId8">
                  <a:extLst>
                    <a:ext uri="{A12FA001-AC4F-418D-AE19-62706E023703}">
                      <ahyp:hlinkClr xmlns:ahyp="http://schemas.microsoft.com/office/drawing/2018/hyperlinkcolor" val="tx"/>
                    </a:ext>
                  </a:extLst>
                </a:hlinkClick>
              </a:rPr>
              <a:t>has issued numerous policies</a:t>
            </a:r>
            <a:r>
              <a:rPr lang="en-US" sz="1200" dirty="0">
                <a:solidFill>
                  <a:srgbClr val="727073"/>
                </a:solidFill>
                <a:latin typeface="Arial (Body)"/>
              </a:rPr>
              <a:t> to support the continued growth of the country’s aquaculture and distant-water fishing operations.</a:t>
            </a:r>
          </a:p>
          <a:p>
            <a:pPr lvl="0" algn="just">
              <a:lnSpc>
                <a:spcPct val="150000"/>
              </a:lnSpc>
            </a:pPr>
            <a:r>
              <a:rPr lang="en-US" sz="1200" dirty="0">
                <a:solidFill>
                  <a:srgbClr val="727073"/>
                </a:solidFill>
                <a:latin typeface="Arial (Body)"/>
              </a:rPr>
              <a:t>…”</a:t>
            </a:r>
          </a:p>
          <a:p>
            <a:pPr lvl="0" algn="just"/>
            <a:endParaRPr lang="en-US" sz="1200" i="1" dirty="0">
              <a:solidFill>
                <a:srgbClr val="727073"/>
              </a:solidFill>
              <a:latin typeface="Arial (Body)"/>
            </a:endParaRPr>
          </a:p>
          <a:p>
            <a:pPr lvl="0" algn="just">
              <a:lnSpc>
                <a:spcPct val="150000"/>
              </a:lnSpc>
            </a:pPr>
            <a:r>
              <a:rPr lang="en-US" sz="1200" i="1" dirty="0" err="1">
                <a:solidFill>
                  <a:srgbClr val="727073"/>
                </a:solidFill>
                <a:latin typeface="Arial (Body)"/>
              </a:rPr>
              <a:t>SeafoodSource</a:t>
            </a:r>
            <a:r>
              <a:rPr lang="en-US" sz="1200" i="1" dirty="0">
                <a:solidFill>
                  <a:srgbClr val="727073"/>
                </a:solidFill>
                <a:latin typeface="Arial (Body)"/>
              </a:rPr>
              <a:t>, 18 Apr 2022</a:t>
            </a:r>
          </a:p>
        </p:txBody>
      </p:sp>
      <p:sp>
        <p:nvSpPr>
          <p:cNvPr id="8" name="Rectangle: Folded Corner 42">
            <a:extLst>
              <a:ext uri="{FF2B5EF4-FFF2-40B4-BE49-F238E27FC236}">
                <a16:creationId xmlns:a16="http://schemas.microsoft.com/office/drawing/2014/main" id="{50814312-8EB9-4D55-05B2-8CF9853F500F}"/>
              </a:ext>
            </a:extLst>
          </p:cNvPr>
          <p:cNvSpPr/>
          <p:nvPr/>
        </p:nvSpPr>
        <p:spPr>
          <a:xfrm>
            <a:off x="230295" y="569843"/>
            <a:ext cx="11824833" cy="1523117"/>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lvl="0" algn="just">
              <a:lnSpc>
                <a:spcPct val="150000"/>
              </a:lnSpc>
            </a:pPr>
            <a:r>
              <a:rPr lang="en-US" sz="1200" b="1" dirty="0">
                <a:solidFill>
                  <a:srgbClr val="727073"/>
                </a:solidFill>
                <a:latin typeface="+mj-lt"/>
              </a:rPr>
              <a:t>The Federal Service for Veterinary and Phytosanitary Supervision (FSVPS) officially added Vinh Hoan Corporation to the list of permitted companies exporting to the Eurasian Economic Union (EEU)</a:t>
            </a:r>
          </a:p>
          <a:p>
            <a:pPr lvl="0" algn="just">
              <a:lnSpc>
                <a:spcPct val="150000"/>
              </a:lnSpc>
            </a:pPr>
            <a:r>
              <a:rPr lang="en-US" sz="1200" dirty="0">
                <a:solidFill>
                  <a:srgbClr val="727073"/>
                </a:solidFill>
                <a:latin typeface="+mj-lt"/>
              </a:rPr>
              <a:t>“</a:t>
            </a:r>
            <a:r>
              <a:rPr lang="en-US" sz="1200" dirty="0">
                <a:solidFill>
                  <a:srgbClr val="727073"/>
                </a:solidFill>
                <a:effectLst/>
                <a:latin typeface="+mj-lt"/>
                <a:ea typeface="Calibri" panose="020F0502020204030204" pitchFamily="34" charset="0"/>
              </a:rPr>
              <a:t>FSVPS officially issued the written notice that Hung Ca Co., Ltd (DL 126) and Plant 3 – Vinh Hoan Corporation (DL 500) are added to the list of permitted companies exporting to the Eurasian Economic Union (EEU) since May 4</a:t>
            </a:r>
            <a:r>
              <a:rPr lang="en-US" sz="1200" baseline="30000" dirty="0">
                <a:solidFill>
                  <a:srgbClr val="727073"/>
                </a:solidFill>
                <a:effectLst/>
                <a:latin typeface="+mj-lt"/>
                <a:ea typeface="Calibri" panose="020F0502020204030204" pitchFamily="34" charset="0"/>
              </a:rPr>
              <a:t>th</a:t>
            </a:r>
            <a:r>
              <a:rPr lang="en-US" sz="1200">
                <a:solidFill>
                  <a:srgbClr val="727073"/>
                </a:solidFill>
                <a:effectLst/>
                <a:latin typeface="+mj-lt"/>
                <a:ea typeface="Calibri" panose="020F0502020204030204" pitchFamily="34" charset="0"/>
              </a:rPr>
              <a:t>, 2022”</a:t>
            </a:r>
            <a:endParaRPr lang="en-US" sz="1200" dirty="0">
              <a:solidFill>
                <a:srgbClr val="727073"/>
              </a:solidFill>
              <a:latin typeface="+mj-lt"/>
            </a:endParaRPr>
          </a:p>
          <a:p>
            <a:pPr lvl="0" algn="just"/>
            <a:endParaRPr lang="en-US" sz="1200" i="1" dirty="0">
              <a:solidFill>
                <a:srgbClr val="727073"/>
              </a:solidFill>
              <a:latin typeface="+mj-lt"/>
            </a:endParaRPr>
          </a:p>
          <a:p>
            <a:pPr lvl="0" algn="just"/>
            <a:r>
              <a:rPr lang="en-US" sz="1200" i="1" dirty="0">
                <a:solidFill>
                  <a:srgbClr val="727073"/>
                </a:solidFill>
                <a:latin typeface="+mj-lt"/>
              </a:rPr>
              <a:t>04 May 2022</a:t>
            </a:r>
          </a:p>
        </p:txBody>
      </p:sp>
    </p:spTree>
    <p:extLst>
      <p:ext uri="{BB962C8B-B14F-4D97-AF65-F5344CB8AC3E}">
        <p14:creationId xmlns:p14="http://schemas.microsoft.com/office/powerpoint/2010/main" val="180050911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1861BBCB-EE97-41D1-B372-31091BF7B8B0}"/>
              </a:ext>
            </a:extLst>
          </p:cNvPr>
          <p:cNvGraphicFramePr>
            <a:graphicFrameLocks noChangeAspect="1"/>
          </p:cNvGraphicFramePr>
          <p:nvPr>
            <p:custDataLst>
              <p:tags r:id="rId2"/>
            </p:custDataLst>
            <p:extLst>
              <p:ext uri="{D42A27DB-BD31-4B8C-83A1-F6EECF244321}">
                <p14:modId xmlns:p14="http://schemas.microsoft.com/office/powerpoint/2010/main" val="333491011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5" name="think-cell Slide" r:id="rId5" imgW="520" imgH="520" progId="TCLayout.ActiveDocument.1">
                  <p:embed/>
                </p:oleObj>
              </mc:Choice>
              <mc:Fallback>
                <p:oleObj name="think-cell Slide" r:id="rId5" imgW="520" imgH="520" progId="TCLayout.ActiveDocument.1">
                  <p:embed/>
                  <p:pic>
                    <p:nvPicPr>
                      <p:cNvPr id="10" name="Object 9" hidden="1">
                        <a:extLst>
                          <a:ext uri="{FF2B5EF4-FFF2-40B4-BE49-F238E27FC236}">
                            <a16:creationId xmlns:a16="http://schemas.microsoft.com/office/drawing/2014/main" id="{1861BBCB-EE97-41D1-B372-31091BF7B8B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4" name="Picture 2" descr="http://vinhfoods.com/wp-content/uploads/2016/03/Vinh-Foods_homepage_top.jpg">
            <a:extLst>
              <a:ext uri="{FF2B5EF4-FFF2-40B4-BE49-F238E27FC236}">
                <a16:creationId xmlns:a16="http://schemas.microsoft.com/office/drawing/2014/main" id="{FE8698A5-29C4-4436-9E40-E46682B04C8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7621"/>
          <a:stretch/>
        </p:blipFill>
        <p:spPr bwMode="auto">
          <a:xfrm>
            <a:off x="0" y="0"/>
            <a:ext cx="12198756" cy="595843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491AF893-9094-4847-BA15-BF28423EB208}"/>
              </a:ext>
            </a:extLst>
          </p:cNvPr>
          <p:cNvSpPr/>
          <p:nvPr/>
        </p:nvSpPr>
        <p:spPr>
          <a:xfrm>
            <a:off x="6030396" y="525294"/>
            <a:ext cx="5646810" cy="3521412"/>
          </a:xfrm>
          <a:prstGeom prst="rect">
            <a:avLst/>
          </a:prstGeom>
          <a:solidFill>
            <a:srgbClr val="FFFFFF">
              <a:alpha val="86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636806A2-B063-4D01-8A20-81F973FFB870}"/>
              </a:ext>
            </a:extLst>
          </p:cNvPr>
          <p:cNvSpPr>
            <a:spLocks noGrp="1"/>
          </p:cNvSpPr>
          <p:nvPr>
            <p:ph type="sldNum" sz="quarter" idx="4"/>
          </p:nvPr>
        </p:nvSpPr>
        <p:spPr>
          <a:prstGeom prst="rect">
            <a:avLst/>
          </a:prstGeom>
        </p:spPr>
        <p:txBody>
          <a:bodyPr/>
          <a:lstStyle/>
          <a:p>
            <a:fld id="{DB744C55-FBB5-4EC4-A7FE-B77A2493A9E5}" type="slidenum">
              <a:rPr lang="en-US" dirty="0" smtClean="0"/>
              <a:pPr/>
              <a:t>15</a:t>
            </a:fld>
            <a:endParaRPr lang="en-US"/>
          </a:p>
        </p:txBody>
      </p:sp>
      <p:sp>
        <p:nvSpPr>
          <p:cNvPr id="5" name="Text Placeholder 1">
            <a:extLst>
              <a:ext uri="{FF2B5EF4-FFF2-40B4-BE49-F238E27FC236}">
                <a16:creationId xmlns:a16="http://schemas.microsoft.com/office/drawing/2014/main" id="{D3D6B094-8382-4D30-95DF-85DE76F13C97}"/>
              </a:ext>
            </a:extLst>
          </p:cNvPr>
          <p:cNvSpPr txBox="1">
            <a:spLocks/>
          </p:cNvSpPr>
          <p:nvPr/>
        </p:nvSpPr>
        <p:spPr>
          <a:xfrm>
            <a:off x="6238874" y="666004"/>
            <a:ext cx="5372727" cy="1387733"/>
          </a:xfrm>
          <a:prstGeom prst="rect">
            <a:avLst/>
          </a:prstGeom>
        </p:spPr>
        <p:txBody>
          <a:bodyPr vert="horz" lIns="91440" tIns="45720" rIns="91440" bIns="45720" numCol="1" rtlCol="0">
            <a:normAutofit/>
          </a:bodyPr>
          <a:lstStyle>
            <a:lvl1pPr marL="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1pPr>
            <a:lvl2pPr marL="180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2pPr>
            <a:lvl3pPr marL="684000" indent="-228600" algn="l" defTabSz="914400" rtl="0" eaLnBrk="1" latinLnBrk="0" hangingPunct="1">
              <a:lnSpc>
                <a:spcPts val="3400"/>
              </a:lnSpc>
              <a:spcBef>
                <a:spcPts val="500"/>
              </a:spcBef>
              <a:buFont typeface="Arial"/>
              <a:buChar char="•"/>
              <a:defRPr sz="2200" kern="1200">
                <a:solidFill>
                  <a:srgbClr val="41B6E6"/>
                </a:solidFill>
                <a:latin typeface="+mn-lt"/>
                <a:ea typeface="+mn-ea"/>
                <a:cs typeface="+mn-cs"/>
              </a:defRPr>
            </a:lvl3pPr>
            <a:lvl4pPr marL="11448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4pPr>
            <a:lvl5pPr marL="15984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en-US">
                <a:solidFill>
                  <a:srgbClr val="0033A0"/>
                </a:solidFill>
              </a:rPr>
              <a:t>Thank you</a:t>
            </a:r>
          </a:p>
        </p:txBody>
      </p:sp>
      <p:sp>
        <p:nvSpPr>
          <p:cNvPr id="6" name="Slide Number Placeholder 3">
            <a:extLst>
              <a:ext uri="{FF2B5EF4-FFF2-40B4-BE49-F238E27FC236}">
                <a16:creationId xmlns:a16="http://schemas.microsoft.com/office/drawing/2014/main" id="{6B0880D9-32E6-44C7-B0FF-594D0C07F4A5}"/>
              </a:ext>
            </a:extLst>
          </p:cNvPr>
          <p:cNvSpPr txBox="1">
            <a:spLocks/>
          </p:cNvSpPr>
          <p:nvPr/>
        </p:nvSpPr>
        <p:spPr>
          <a:xfrm>
            <a:off x="6055564" y="2222269"/>
            <a:ext cx="5556038" cy="353595"/>
          </a:xfrm>
          <a:prstGeom prst="rect">
            <a:avLst/>
          </a:prstGeom>
        </p:spPr>
        <p:txBody>
          <a:bodyPr anchor="ctr" anchorCtr="0"/>
          <a:lstStyle>
            <a:defPPr>
              <a:defRPr lang="en-US"/>
            </a:defPPr>
            <a:lvl1pPr marL="0" algn="ctr" defTabSz="914400" rtl="0" eaLnBrk="1" latinLnBrk="0" hangingPunct="1">
              <a:lnSpc>
                <a:spcPts val="2000"/>
              </a:lnSpc>
              <a:defRPr sz="1200" kern="1200">
                <a:solidFill>
                  <a:srgbClr val="41B6E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endParaRPr lang="en-US" sz="1800"/>
          </a:p>
        </p:txBody>
      </p:sp>
      <p:sp>
        <p:nvSpPr>
          <p:cNvPr id="7" name="Slide Number Placeholder 3">
            <a:extLst>
              <a:ext uri="{FF2B5EF4-FFF2-40B4-BE49-F238E27FC236}">
                <a16:creationId xmlns:a16="http://schemas.microsoft.com/office/drawing/2014/main" id="{D9FD3896-ACC6-4855-A43C-E9FF7633C63A}"/>
              </a:ext>
            </a:extLst>
          </p:cNvPr>
          <p:cNvSpPr txBox="1">
            <a:spLocks/>
          </p:cNvSpPr>
          <p:nvPr/>
        </p:nvSpPr>
        <p:spPr>
          <a:xfrm>
            <a:off x="6096000" y="3252202"/>
            <a:ext cx="5515602" cy="353595"/>
          </a:xfrm>
          <a:prstGeom prst="rect">
            <a:avLst/>
          </a:prstGeom>
        </p:spPr>
        <p:txBody>
          <a:bodyPr anchor="ctr" anchorCtr="0"/>
          <a:lstStyle>
            <a:defPPr>
              <a:defRPr lang="en-US"/>
            </a:defPPr>
            <a:lvl1pPr marL="0" algn="ctr" defTabSz="914400" rtl="0" eaLnBrk="1" latinLnBrk="0" hangingPunct="1">
              <a:lnSpc>
                <a:spcPts val="2000"/>
              </a:lnSpc>
              <a:defRPr sz="1200" kern="1200">
                <a:solidFill>
                  <a:srgbClr val="41B6E6"/>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a:solidFill>
                  <a:srgbClr val="727073"/>
                </a:solidFill>
              </a:rPr>
              <a:t>If you have any questions or would like to subscribe to our monthly newsletter, please contact Investors Relation Department at </a:t>
            </a:r>
            <a:r>
              <a:rPr lang="en-US" u="sng">
                <a:solidFill>
                  <a:srgbClr val="BEC0CB"/>
                </a:solidFill>
                <a:hlinkClick r:id="rId8"/>
              </a:rPr>
              <a:t>ir@vinhhoan.com</a:t>
            </a:r>
            <a:r>
              <a:rPr lang="en-US">
                <a:solidFill>
                  <a:srgbClr val="727073"/>
                </a:solidFill>
              </a:rPr>
              <a:t>. </a:t>
            </a:r>
          </a:p>
        </p:txBody>
      </p:sp>
    </p:spTree>
    <p:extLst>
      <p:ext uri="{BB962C8B-B14F-4D97-AF65-F5344CB8AC3E}">
        <p14:creationId xmlns:p14="http://schemas.microsoft.com/office/powerpoint/2010/main" val="404235483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35D633B-480E-4110-B86A-BC6CE1F4AC18}"/>
              </a:ext>
            </a:extLst>
          </p:cNvPr>
          <p:cNvGraphicFramePr>
            <a:graphicFrameLocks noChangeAspect="1"/>
          </p:cNvGraphicFramePr>
          <p:nvPr>
            <p:custDataLst>
              <p:tags r:id="rId2"/>
            </p:custDataLst>
            <p:extLst>
              <p:ext uri="{D42A27DB-BD31-4B8C-83A1-F6EECF244321}">
                <p14:modId xmlns:p14="http://schemas.microsoft.com/office/powerpoint/2010/main" val="1221834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1" name="think-cell Slide" r:id="rId5" imgW="520" imgH="520" progId="TCLayout.ActiveDocument.1">
                  <p:embed/>
                </p:oleObj>
              </mc:Choice>
              <mc:Fallback>
                <p:oleObj name="think-cell Slide" r:id="rId5" imgW="520" imgH="520" progId="TCLayout.ActiveDocument.1">
                  <p:embed/>
                  <p:pic>
                    <p:nvPicPr>
                      <p:cNvPr id="4" name="Object 3" hidden="1">
                        <a:extLst>
                          <a:ext uri="{FF2B5EF4-FFF2-40B4-BE49-F238E27FC236}">
                            <a16:creationId xmlns:a16="http://schemas.microsoft.com/office/drawing/2014/main" id="{B35D633B-480E-4110-B86A-BC6CE1F4AC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0AA8E234-D1AC-43CC-A765-B32AC8757DFD}"/>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37BF6521-7D9F-4C07-9104-FAFD19ED28E1}"/>
              </a:ext>
            </a:extLst>
          </p:cNvPr>
          <p:cNvSpPr>
            <a:spLocks noGrp="1"/>
          </p:cNvSpPr>
          <p:nvPr>
            <p:ph type="title"/>
          </p:nvPr>
        </p:nvSpPr>
        <p:spPr/>
        <p:txBody>
          <a:bodyPr>
            <a:noAutofit/>
          </a:bodyPr>
          <a:lstStyle/>
          <a:p>
            <a:r>
              <a:rPr lang="en-US"/>
              <a:t>Cautionary note regarding forward-looking statements</a:t>
            </a:r>
            <a:endParaRPr lang="en-GB"/>
          </a:p>
        </p:txBody>
      </p:sp>
      <p:sp>
        <p:nvSpPr>
          <p:cNvPr id="5" name="Slide Number Placeholder 4">
            <a:extLst>
              <a:ext uri="{FF2B5EF4-FFF2-40B4-BE49-F238E27FC236}">
                <a16:creationId xmlns:a16="http://schemas.microsoft.com/office/drawing/2014/main" id="{804FFA15-9948-4C0E-89E1-C5123CDB0121}"/>
              </a:ext>
            </a:extLst>
          </p:cNvPr>
          <p:cNvSpPr>
            <a:spLocks noGrp="1"/>
          </p:cNvSpPr>
          <p:nvPr>
            <p:ph type="sldNum" sz="quarter" idx="4"/>
          </p:nvPr>
        </p:nvSpPr>
        <p:spPr>
          <a:prstGeom prst="rect">
            <a:avLst/>
          </a:prstGeom>
        </p:spPr>
        <p:txBody>
          <a:bodyPr/>
          <a:lstStyle/>
          <a:p>
            <a:fld id="{DB744C55-FBB5-4EC4-A7FE-B77A2493A9E5}" type="slidenum">
              <a:rPr lang="en-US" smtClean="0"/>
              <a:pPr/>
              <a:t>2</a:t>
            </a:fld>
            <a:endParaRPr lang="en-US"/>
          </a:p>
        </p:txBody>
      </p:sp>
      <p:sp>
        <p:nvSpPr>
          <p:cNvPr id="7" name="Text Placeholder 6">
            <a:extLst>
              <a:ext uri="{FF2B5EF4-FFF2-40B4-BE49-F238E27FC236}">
                <a16:creationId xmlns:a16="http://schemas.microsoft.com/office/drawing/2014/main" id="{EBC35F0F-A1B7-46CE-A1D2-AC509DA8498D}"/>
              </a:ext>
            </a:extLst>
          </p:cNvPr>
          <p:cNvSpPr>
            <a:spLocks noGrp="1"/>
          </p:cNvSpPr>
          <p:nvPr>
            <p:ph sz="quarter" idx="10"/>
          </p:nvPr>
        </p:nvSpPr>
        <p:spPr>
          <a:xfrm>
            <a:off x="258791" y="1320800"/>
            <a:ext cx="11580783" cy="4572000"/>
          </a:xfrm>
          <a:prstGeom prst="rect">
            <a:avLst/>
          </a:prstGeom>
        </p:spPr>
        <p:txBody>
          <a:bodyPr>
            <a:noAutofit/>
          </a:bodyPr>
          <a:lstStyle/>
          <a:p>
            <a:pPr algn="just">
              <a:lnSpc>
                <a:spcPct val="100000"/>
              </a:lnSpc>
            </a:pPr>
            <a:r>
              <a:rPr lang="en-US" sz="1200">
                <a:solidFill>
                  <a:schemeClr val="accent5"/>
                </a:solidFill>
              </a:rPr>
              <a:t>All statements contained in this report that are not statements of historical fact constitute “forward-looking statements”. Some of these statements can be identified by forward-looking terms, such as “anticipate”, “believe”, “can”, “could”, “estimate”, “anticipate”, “project”, “expect”, “intend”, “may”, “plan”, “aim”, “will” and “would” or similar words. However, these words are not the exclusive means of identifying forward-looking statements. All statements regarding our expected financial condition and results of operations, business, plans and prospects are forward-looking statements. These forward-looking statements include statements as to our business strategy, revenue and profitability (including, without limitation, any financial or operating projections or forecasts), planned projects and other matters discussed in this document regarding matters that are not historical fact. These forward-looking statements and any other projections contained in this report involve known and unknown risks, uncertainties and other factors that may cause our actual financial results, performance or achievements to be materially different from any future financial results, performance or achievements expressed or implied by such forward-looking statements or other projections.</a:t>
            </a:r>
          </a:p>
          <a:p>
            <a:pPr algn="just">
              <a:lnSpc>
                <a:spcPct val="100000"/>
              </a:lnSpc>
            </a:pPr>
            <a:endParaRPr lang="en-US" sz="1200">
              <a:solidFill>
                <a:schemeClr val="accent5"/>
              </a:solidFill>
            </a:endParaRPr>
          </a:p>
          <a:p>
            <a:pPr algn="just">
              <a:lnSpc>
                <a:spcPct val="100000"/>
              </a:lnSpc>
            </a:pPr>
            <a:r>
              <a:rPr lang="en-US" sz="1200">
                <a:solidFill>
                  <a:schemeClr val="accent5"/>
                </a:solidFill>
              </a:rPr>
              <a:t>Forward-looking statements are based on our beliefs and assumptions, which in turn are based on currently available information. Our outlook is predominantly based on our interpretation of what we consider to be the key economic factors affecting our business, the global economy and the sectors we operate in. Although we believe the assumptions upon which these forward-looking statements are based are reasonable, any of these assumptions could prove to be inaccurate, and the forward-looking statements based on these assumptions could be incorrect. Actual results may differ materially from information contained in the forward-looking statements as a result of a number of factors, many of which are beyond our control. Accordingly, investors are cautioned not to place undue reliance on the forward-looking statements in this report. These statements speak only as of the date of this report or the respective dates indicated in this report, and we undertake no obligation to update or revise any of them, whether as a result of new information, future events or otherwise.</a:t>
            </a:r>
            <a:endParaRPr lang="en-GB" sz="1200">
              <a:solidFill>
                <a:schemeClr val="accent5"/>
              </a:solidFill>
            </a:endParaRPr>
          </a:p>
        </p:txBody>
      </p:sp>
    </p:spTree>
    <p:extLst>
      <p:ext uri="{BB962C8B-B14F-4D97-AF65-F5344CB8AC3E}">
        <p14:creationId xmlns:p14="http://schemas.microsoft.com/office/powerpoint/2010/main" val="10934927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745F01E-C7B3-44F3-A138-97B6A27DEF03}"/>
              </a:ext>
            </a:extLst>
          </p:cNvPr>
          <p:cNvGraphicFramePr>
            <a:graphicFrameLocks noChangeAspect="1"/>
          </p:cNvGraphicFramePr>
          <p:nvPr>
            <p:custDataLst>
              <p:tags r:id="rId2"/>
            </p:custDataLst>
            <p:extLst>
              <p:ext uri="{D42A27DB-BD31-4B8C-83A1-F6EECF244321}">
                <p14:modId xmlns:p14="http://schemas.microsoft.com/office/powerpoint/2010/main" val="3156323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5" name="think-cell Slide" r:id="rId5" imgW="520" imgH="520" progId="TCLayout.ActiveDocument.1">
                  <p:embed/>
                </p:oleObj>
              </mc:Choice>
              <mc:Fallback>
                <p:oleObj name="think-cell Slide" r:id="rId5" imgW="520" imgH="520" progId="TCLayout.ActiveDocument.1">
                  <p:embed/>
                  <p:pic>
                    <p:nvPicPr>
                      <p:cNvPr id="6" name="Object 5" hidden="1">
                        <a:extLst>
                          <a:ext uri="{FF2B5EF4-FFF2-40B4-BE49-F238E27FC236}">
                            <a16:creationId xmlns:a16="http://schemas.microsoft.com/office/drawing/2014/main" id="{E745F01E-C7B3-44F3-A138-97B6A27DEF0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B5E8FD94-9240-4F2F-A9C1-0296C4BF24C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b="1">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F3C45EBE-7C2A-4D48-A8D0-2349B8187F36}"/>
              </a:ext>
            </a:extLst>
          </p:cNvPr>
          <p:cNvSpPr>
            <a:spLocks noGrp="1"/>
          </p:cNvSpPr>
          <p:nvPr>
            <p:ph type="title"/>
          </p:nvPr>
        </p:nvSpPr>
        <p:spPr/>
        <p:txBody>
          <a:bodyPr/>
          <a:lstStyle/>
          <a:p>
            <a:r>
              <a:rPr lang="en-US" dirty="0"/>
              <a:t>Table of contents</a:t>
            </a:r>
            <a:endParaRPr lang="en-GB" dirty="0"/>
          </a:p>
        </p:txBody>
      </p:sp>
      <p:sp>
        <p:nvSpPr>
          <p:cNvPr id="3" name="Slide Number Placeholder 2">
            <a:extLst>
              <a:ext uri="{FF2B5EF4-FFF2-40B4-BE49-F238E27FC236}">
                <a16:creationId xmlns:a16="http://schemas.microsoft.com/office/drawing/2014/main" id="{4A8F47A6-D219-47E2-AFE7-1E2F18B0E35D}"/>
              </a:ext>
            </a:extLst>
          </p:cNvPr>
          <p:cNvSpPr>
            <a:spLocks noGrp="1"/>
          </p:cNvSpPr>
          <p:nvPr>
            <p:ph type="sldNum" sz="quarter" idx="4"/>
          </p:nvPr>
        </p:nvSpPr>
        <p:spPr/>
        <p:txBody>
          <a:bodyPr/>
          <a:lstStyle/>
          <a:p>
            <a:fld id="{DB744C55-FBB5-4EC4-A7FE-B77A2493A9E5}" type="slidenum">
              <a:rPr lang="en-US" smtClean="0"/>
              <a:pPr/>
              <a:t>3</a:t>
            </a:fld>
            <a:endParaRPr lang="en-US"/>
          </a:p>
        </p:txBody>
      </p:sp>
      <p:pic>
        <p:nvPicPr>
          <p:cNvPr id="5" name="Picture 4">
            <a:extLst>
              <a:ext uri="{FF2B5EF4-FFF2-40B4-BE49-F238E27FC236}">
                <a16:creationId xmlns:a16="http://schemas.microsoft.com/office/drawing/2014/main" id="{6C59963C-E285-4865-AC52-A4790416975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1663700"/>
            <a:ext cx="5689135" cy="5193578"/>
          </a:xfrm>
          <a:prstGeom prst="rect">
            <a:avLst/>
          </a:prstGeom>
        </p:spPr>
      </p:pic>
      <p:pic>
        <p:nvPicPr>
          <p:cNvPr id="7" name="Picture 6">
            <a:extLst>
              <a:ext uri="{FF2B5EF4-FFF2-40B4-BE49-F238E27FC236}">
                <a16:creationId xmlns:a16="http://schemas.microsoft.com/office/drawing/2014/main" id="{5E542CF9-F157-4CC3-848A-E195D42FC4D6}"/>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768424" y="0"/>
            <a:ext cx="2420117" cy="1773940"/>
          </a:xfrm>
          <a:prstGeom prst="rect">
            <a:avLst/>
          </a:prstGeom>
        </p:spPr>
      </p:pic>
      <p:sp>
        <p:nvSpPr>
          <p:cNvPr id="8" name="Rectangle 7">
            <a:extLst>
              <a:ext uri="{FF2B5EF4-FFF2-40B4-BE49-F238E27FC236}">
                <a16:creationId xmlns:a16="http://schemas.microsoft.com/office/drawing/2014/main" id="{27040F0D-52D3-444B-AB94-71B1E44B69EC}"/>
              </a:ext>
            </a:extLst>
          </p:cNvPr>
          <p:cNvSpPr/>
          <p:nvPr/>
        </p:nvSpPr>
        <p:spPr>
          <a:xfrm>
            <a:off x="6049288" y="5912338"/>
            <a:ext cx="5790286" cy="461665"/>
          </a:xfrm>
          <a:prstGeom prst="rect">
            <a:avLst/>
          </a:prstGeom>
        </p:spPr>
        <p:txBody>
          <a:bodyPr wrap="square">
            <a:spAutoFit/>
          </a:bodyPr>
          <a:lstStyle/>
          <a:p>
            <a:r>
              <a:rPr lang="en-US" sz="1200">
                <a:solidFill>
                  <a:srgbClr val="BEC0CB"/>
                </a:solidFill>
              </a:rPr>
              <a:t>We have a traditional wooden house at all of our major locations for employees meetings and social events.</a:t>
            </a:r>
          </a:p>
        </p:txBody>
      </p:sp>
      <p:sp>
        <p:nvSpPr>
          <p:cNvPr id="12" name="Content Placeholder 3">
            <a:extLst>
              <a:ext uri="{FF2B5EF4-FFF2-40B4-BE49-F238E27FC236}">
                <a16:creationId xmlns:a16="http://schemas.microsoft.com/office/drawing/2014/main" id="{5CCA6B56-083C-4137-9C67-92B73B4CBDD3}"/>
              </a:ext>
            </a:extLst>
          </p:cNvPr>
          <p:cNvSpPr>
            <a:spLocks noGrp="1"/>
          </p:cNvSpPr>
          <p:nvPr>
            <p:ph sz="quarter" idx="10"/>
          </p:nvPr>
        </p:nvSpPr>
        <p:spPr>
          <a:xfrm>
            <a:off x="6049287" y="1320800"/>
            <a:ext cx="5790287" cy="4572000"/>
          </a:xfrm>
        </p:spPr>
        <p:txBody>
          <a:bodyPr/>
          <a:lstStyle/>
          <a:p>
            <a:pPr marL="687600" lvl="1" indent="-457200">
              <a:buAutoNum type="arabicPeriod"/>
            </a:pPr>
            <a:r>
              <a:rPr lang="en-US" sz="2000" dirty="0">
                <a:solidFill>
                  <a:schemeClr val="accent1"/>
                </a:solidFill>
              </a:rPr>
              <a:t>Financials and Outlook 		4</a:t>
            </a:r>
          </a:p>
          <a:p>
            <a:pPr marL="687600" lvl="1" indent="-457200">
              <a:lnSpc>
                <a:spcPct val="300000"/>
              </a:lnSpc>
              <a:buAutoNum type="arabicPeriod"/>
            </a:pPr>
            <a:r>
              <a:rPr lang="en-US" sz="2000" dirty="0">
                <a:solidFill>
                  <a:schemeClr val="accent1"/>
                </a:solidFill>
              </a:rPr>
              <a:t>Event Highlights			7</a:t>
            </a:r>
          </a:p>
          <a:p>
            <a:pPr marL="687600" lvl="1" indent="-457200">
              <a:lnSpc>
                <a:spcPct val="250000"/>
              </a:lnSpc>
              <a:buAutoNum type="arabicPeriod"/>
            </a:pPr>
            <a:r>
              <a:rPr lang="en-US" sz="2000" dirty="0">
                <a:solidFill>
                  <a:schemeClr val="accent1"/>
                </a:solidFill>
              </a:rPr>
              <a:t>News Clipping			13</a:t>
            </a:r>
          </a:p>
          <a:p>
            <a:pPr lvl="1" indent="0">
              <a:buNone/>
            </a:pPr>
            <a:endParaRPr lang="en-US" sz="2000" dirty="0">
              <a:solidFill>
                <a:schemeClr val="accent1"/>
              </a:solidFill>
            </a:endParaRPr>
          </a:p>
          <a:p>
            <a:pPr marL="687600" lvl="1" indent="-457200">
              <a:buAutoNum type="arabicPeriod"/>
            </a:pPr>
            <a:endParaRPr lang="en-US" sz="2000" dirty="0">
              <a:solidFill>
                <a:schemeClr val="accent1"/>
              </a:solidFill>
            </a:endParaRPr>
          </a:p>
          <a:p>
            <a:pPr marL="687600" lvl="1" indent="-457200">
              <a:buAutoNum type="arabicPeriod"/>
            </a:pPr>
            <a:endParaRPr lang="en-US" sz="2000" dirty="0">
              <a:solidFill>
                <a:schemeClr val="accent1"/>
              </a:solidFill>
            </a:endParaRPr>
          </a:p>
        </p:txBody>
      </p:sp>
    </p:spTree>
    <p:extLst>
      <p:ext uri="{BB962C8B-B14F-4D97-AF65-F5344CB8AC3E}">
        <p14:creationId xmlns:p14="http://schemas.microsoft.com/office/powerpoint/2010/main" val="323414244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122775-E9AA-492A-BB00-202910A07E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9" name="think-cell Slide" r:id="rId5" imgW="520" imgH="520" progId="TCLayout.ActiveDocument.1">
                  <p:embed/>
                </p:oleObj>
              </mc:Choice>
              <mc:Fallback>
                <p:oleObj name="think-cell Slide" r:id="rId5" imgW="520" imgH="520" progId="TCLayout.ActiveDocument.1">
                  <p:embed/>
                  <p:pic>
                    <p:nvPicPr>
                      <p:cNvPr id="6" name="Object 5" hidden="1">
                        <a:extLst>
                          <a:ext uri="{FF2B5EF4-FFF2-40B4-BE49-F238E27FC236}">
                            <a16:creationId xmlns:a16="http://schemas.microsoft.com/office/drawing/2014/main" id="{93122775-E9AA-492A-BB00-202910A07E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3C8790B-A8EA-490B-BC43-8B5A2F3608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pic>
        <p:nvPicPr>
          <p:cNvPr id="17" name="Content Placeholder 11" descr="A table topped with different types of food on a plate&#10;&#10;Description generated with very high confidence">
            <a:extLst>
              <a:ext uri="{FF2B5EF4-FFF2-40B4-BE49-F238E27FC236}">
                <a16:creationId xmlns:a16="http://schemas.microsoft.com/office/drawing/2014/main" id="{5F337EC7-DA9A-496E-A288-CF36A8F45E62}"/>
              </a:ext>
            </a:extLst>
          </p:cNvPr>
          <p:cNvPicPr>
            <a:picLocks noChangeAspect="1"/>
          </p:cNvPicPr>
          <p:nvPr/>
        </p:nvPicPr>
        <p:blipFill rotWithShape="1">
          <a:blip r:embed="rId7" cstate="screen">
            <a:extLst>
              <a:ext uri="{28A0092B-C50C-407E-A947-70E740481C1C}">
                <a14:useLocalDpi xmlns:a14="http://schemas.microsoft.com/office/drawing/2010/main"/>
              </a:ext>
            </a:extLst>
          </a:blip>
          <a:srcRect l="11555" r="23027"/>
          <a:stretch/>
        </p:blipFill>
        <p:spPr>
          <a:xfrm rot="16200000">
            <a:off x="3109299" y="-3104534"/>
            <a:ext cx="5976579" cy="12188823"/>
          </a:xfrm>
          <a:prstGeom prst="rect">
            <a:avLst/>
          </a:prstGeom>
        </p:spPr>
      </p:pic>
      <p:sp>
        <p:nvSpPr>
          <p:cNvPr id="4" name="Slide Number Placeholder 3">
            <a:extLst>
              <a:ext uri="{FF2B5EF4-FFF2-40B4-BE49-F238E27FC236}">
                <a16:creationId xmlns:a16="http://schemas.microsoft.com/office/drawing/2014/main" id="{CE94E848-C6AC-4868-B4AE-BE8831693AC9}"/>
              </a:ext>
            </a:extLst>
          </p:cNvPr>
          <p:cNvSpPr>
            <a:spLocks noGrp="1"/>
          </p:cNvSpPr>
          <p:nvPr>
            <p:ph type="sldNum" sz="quarter" idx="4"/>
          </p:nvPr>
        </p:nvSpPr>
        <p:spPr>
          <a:prstGeom prst="rect">
            <a:avLst/>
          </a:prstGeom>
        </p:spPr>
        <p:txBody>
          <a:bodyPr/>
          <a:lstStyle/>
          <a:p>
            <a:fld id="{DB744C55-FBB5-4EC4-A7FE-B77A2493A9E5}" type="slidenum">
              <a:rPr lang="en-US" smtClean="0"/>
              <a:pPr/>
              <a:t>4</a:t>
            </a:fld>
            <a:endParaRPr lang="en-US"/>
          </a:p>
        </p:txBody>
      </p:sp>
      <p:sp>
        <p:nvSpPr>
          <p:cNvPr id="9" name="Rectangle">
            <a:extLst>
              <a:ext uri="{FF2B5EF4-FFF2-40B4-BE49-F238E27FC236}">
                <a16:creationId xmlns:a16="http://schemas.microsoft.com/office/drawing/2014/main" id="{CAF72D19-7EF6-47C6-8E69-C7D82FEDE064}"/>
              </a:ext>
            </a:extLst>
          </p:cNvPr>
          <p:cNvSpPr/>
          <p:nvPr/>
        </p:nvSpPr>
        <p:spPr>
          <a:xfrm>
            <a:off x="3176" y="3176"/>
            <a:ext cx="12191999" cy="5976579"/>
          </a:xfrm>
          <a:prstGeom prst="rect">
            <a:avLst/>
          </a:prstGeom>
          <a:solidFill>
            <a:srgbClr val="242C35">
              <a:alpha val="40000"/>
            </a:srgbClr>
          </a:solidFill>
          <a:ln w="12700">
            <a:miter lim="400000"/>
          </a:ln>
        </p:spPr>
        <p:txBody>
          <a:bodyPr lIns="45719" rIns="45719" anchor="ctr"/>
          <a:lstStyle/>
          <a:p>
            <a:pPr algn="ctr">
              <a:defRPr sz="2700">
                <a:solidFill>
                  <a:srgbClr val="FFFFFF"/>
                </a:solidFill>
                <a:latin typeface="+mj-lt"/>
                <a:ea typeface="+mj-ea"/>
                <a:cs typeface="+mj-cs"/>
                <a:sym typeface="Helvetica"/>
              </a:defRPr>
            </a:pPr>
            <a:endParaRPr/>
          </a:p>
        </p:txBody>
      </p:sp>
      <p:sp>
        <p:nvSpPr>
          <p:cNvPr id="11" name="Text Placeholder 1">
            <a:extLst>
              <a:ext uri="{FF2B5EF4-FFF2-40B4-BE49-F238E27FC236}">
                <a16:creationId xmlns:a16="http://schemas.microsoft.com/office/drawing/2014/main" id="{E11BFD3D-8B20-4E3B-BE41-C2D731944E37}"/>
              </a:ext>
            </a:extLst>
          </p:cNvPr>
          <p:cNvSpPr txBox="1">
            <a:spLocks/>
          </p:cNvSpPr>
          <p:nvPr/>
        </p:nvSpPr>
        <p:spPr>
          <a:xfrm>
            <a:off x="808075" y="666004"/>
            <a:ext cx="10803528" cy="1387733"/>
          </a:xfrm>
          <a:prstGeom prst="rect">
            <a:avLst/>
          </a:prstGeom>
        </p:spPr>
        <p:txBody>
          <a:bodyPr vert="horz" lIns="91440" tIns="45720" rIns="91440" bIns="45720" numCol="1" rtlCol="0">
            <a:normAutofit/>
          </a:bodyPr>
          <a:lstStyle>
            <a:lvl1pPr marL="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1pPr>
            <a:lvl2pPr marL="180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2pPr>
            <a:lvl3pPr marL="684000" indent="-228600" algn="l" defTabSz="914400" rtl="0" eaLnBrk="1" latinLnBrk="0" hangingPunct="1">
              <a:lnSpc>
                <a:spcPts val="3400"/>
              </a:lnSpc>
              <a:spcBef>
                <a:spcPts val="500"/>
              </a:spcBef>
              <a:buFont typeface="Arial"/>
              <a:buChar char="•"/>
              <a:defRPr sz="2200" kern="1200">
                <a:solidFill>
                  <a:srgbClr val="41B6E6"/>
                </a:solidFill>
                <a:latin typeface="+mn-lt"/>
                <a:ea typeface="+mn-ea"/>
                <a:cs typeface="+mn-cs"/>
              </a:defRPr>
            </a:lvl3pPr>
            <a:lvl4pPr marL="11448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4pPr>
            <a:lvl5pPr marL="15984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en-US" sz="3600" dirty="0">
                <a:solidFill>
                  <a:schemeClr val="bg1"/>
                </a:solidFill>
              </a:rPr>
              <a:t>Financials and Outlook</a:t>
            </a:r>
            <a:endParaRPr lang="en-US" dirty="0">
              <a:solidFill>
                <a:schemeClr val="bg1"/>
              </a:solidFill>
            </a:endParaRPr>
          </a:p>
        </p:txBody>
      </p:sp>
    </p:spTree>
    <p:extLst>
      <p:ext uri="{BB962C8B-B14F-4D97-AF65-F5344CB8AC3E}">
        <p14:creationId xmlns:p14="http://schemas.microsoft.com/office/powerpoint/2010/main" val="218050655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a:extLst>
              <a:ext uri="{FF2B5EF4-FFF2-40B4-BE49-F238E27FC236}">
                <a16:creationId xmlns:a16="http://schemas.microsoft.com/office/drawing/2014/main" id="{E4BC56F5-EBEB-62F7-CC71-AFC31599FC32}"/>
              </a:ext>
            </a:extLst>
          </p:cNvPr>
          <p:cNvPicPr>
            <a:picLocks noChangeAspect="1"/>
          </p:cNvPicPr>
          <p:nvPr/>
        </p:nvPicPr>
        <p:blipFill>
          <a:blip r:embed="rId41"/>
          <a:stretch>
            <a:fillRect/>
          </a:stretch>
        </p:blipFill>
        <p:spPr>
          <a:xfrm>
            <a:off x="8063" y="557266"/>
            <a:ext cx="8871576" cy="5389416"/>
          </a:xfrm>
          <a:prstGeom prst="rect">
            <a:avLst/>
          </a:prstGeom>
        </p:spPr>
      </p:pic>
      <p:sp>
        <p:nvSpPr>
          <p:cNvPr id="3" name="Slide Number Placeholder 2">
            <a:extLst>
              <a:ext uri="{FF2B5EF4-FFF2-40B4-BE49-F238E27FC236}">
                <a16:creationId xmlns:a16="http://schemas.microsoft.com/office/drawing/2014/main" id="{3426A4A5-1AA5-4777-90D5-6CA307EB7CC9}"/>
              </a:ext>
            </a:extLst>
          </p:cNvPr>
          <p:cNvSpPr>
            <a:spLocks noGrp="1"/>
          </p:cNvSpPr>
          <p:nvPr>
            <p:ph type="sldNum" sz="quarter" idx="4"/>
          </p:nvPr>
        </p:nvSpPr>
        <p:spPr/>
        <p:txBody>
          <a:bodyPr/>
          <a:lstStyle/>
          <a:p>
            <a:fld id="{DB744C55-FBB5-4EC4-A7FE-B77A2493A9E5}" type="slidenum">
              <a:rPr lang="en-US" smtClean="0"/>
              <a:pPr/>
              <a:t>5</a:t>
            </a:fld>
            <a:endParaRPr lang="en-US"/>
          </a:p>
        </p:txBody>
      </p:sp>
      <p:sp>
        <p:nvSpPr>
          <p:cNvPr id="8" name="Title 1">
            <a:extLst>
              <a:ext uri="{FF2B5EF4-FFF2-40B4-BE49-F238E27FC236}">
                <a16:creationId xmlns:a16="http://schemas.microsoft.com/office/drawing/2014/main" id="{37844C08-8EB5-452A-88C6-707D460BA324}"/>
              </a:ext>
            </a:extLst>
          </p:cNvPr>
          <p:cNvSpPr>
            <a:spLocks noGrp="1"/>
          </p:cNvSpPr>
          <p:nvPr>
            <p:ph type="title"/>
          </p:nvPr>
        </p:nvSpPr>
        <p:spPr>
          <a:xfrm>
            <a:off x="8062" y="-16694"/>
            <a:ext cx="11598246" cy="1026000"/>
          </a:xfrm>
        </p:spPr>
        <p:txBody>
          <a:bodyPr/>
          <a:lstStyle/>
          <a:p>
            <a:r>
              <a:rPr lang="en-US" dirty="0"/>
              <a:t>APR 2022 Revenue dashboard – </a:t>
            </a:r>
            <a:r>
              <a:rPr lang="en-US" dirty="0" err="1"/>
              <a:t>Yoy</a:t>
            </a:r>
            <a:r>
              <a:rPr lang="en-US" dirty="0"/>
              <a:t> </a:t>
            </a:r>
          </a:p>
        </p:txBody>
      </p:sp>
      <p:sp>
        <p:nvSpPr>
          <p:cNvPr id="11" name="Content Placeholder 3">
            <a:extLst>
              <a:ext uri="{FF2B5EF4-FFF2-40B4-BE49-F238E27FC236}">
                <a16:creationId xmlns:a16="http://schemas.microsoft.com/office/drawing/2014/main" id="{D3754282-48E0-47FB-B37B-384FB7F75E72}"/>
              </a:ext>
            </a:extLst>
          </p:cNvPr>
          <p:cNvSpPr txBox="1">
            <a:spLocks/>
          </p:cNvSpPr>
          <p:nvPr/>
        </p:nvSpPr>
        <p:spPr>
          <a:xfrm>
            <a:off x="9079250" y="1015394"/>
            <a:ext cx="2797790" cy="5031573"/>
          </a:xfrm>
          <a:prstGeom prst="rect">
            <a:avLst/>
          </a:prstGeom>
        </p:spPr>
        <p:txBody>
          <a:bodyPr lIns="91440" tIns="45720" rIns="91440" bIns="45720" anchor="t"/>
          <a:lstStyle>
            <a:lvl1pPr marL="0" indent="0" algn="l" defTabSz="914400" rtl="0" eaLnBrk="1" latinLnBrk="0" hangingPunct="1">
              <a:lnSpc>
                <a:spcPct val="100000"/>
              </a:lnSpc>
              <a:spcBef>
                <a:spcPts val="1000"/>
              </a:spcBef>
              <a:buFont typeface="Arial"/>
              <a:buNone/>
              <a:defRPr sz="2400" kern="1200">
                <a:solidFill>
                  <a:srgbClr val="0033A0"/>
                </a:solidFill>
                <a:latin typeface="+mn-lt"/>
                <a:ea typeface="+mn-ea"/>
                <a:cs typeface="+mn-cs"/>
              </a:defRPr>
            </a:lvl1pPr>
            <a:lvl2pPr marL="230400" indent="-228600" algn="l" defTabSz="914400" rtl="0" eaLnBrk="1" latinLnBrk="0" hangingPunct="1">
              <a:lnSpc>
                <a:spcPct val="100000"/>
              </a:lnSpc>
              <a:spcBef>
                <a:spcPts val="500"/>
              </a:spcBef>
              <a:buFont typeface="Arial"/>
              <a:buChar char="•"/>
              <a:defRPr sz="2400" kern="1200">
                <a:solidFill>
                  <a:srgbClr val="41B6E6"/>
                </a:solidFill>
                <a:latin typeface="+mn-lt"/>
                <a:ea typeface="+mn-ea"/>
                <a:cs typeface="+mn-cs"/>
              </a:defRPr>
            </a:lvl2pPr>
            <a:lvl3pPr marL="684000" indent="-228600" algn="l" defTabSz="914400" rtl="0" eaLnBrk="1" latinLnBrk="0" hangingPunct="1">
              <a:lnSpc>
                <a:spcPct val="100000"/>
              </a:lnSpc>
              <a:spcBef>
                <a:spcPts val="500"/>
              </a:spcBef>
              <a:buFont typeface="Arial"/>
              <a:buChar char="•"/>
              <a:defRPr sz="2200" kern="1200">
                <a:solidFill>
                  <a:srgbClr val="6F9CEB"/>
                </a:solidFill>
                <a:latin typeface="+mn-lt"/>
                <a:ea typeface="+mn-ea"/>
                <a:cs typeface="+mn-cs"/>
              </a:defRPr>
            </a:lvl3pPr>
            <a:lvl4pPr marL="1144800" indent="-228600" algn="l" defTabSz="914400" rtl="0" eaLnBrk="1" latinLnBrk="0" hangingPunct="1">
              <a:lnSpc>
                <a:spcPct val="100000"/>
              </a:lnSpc>
              <a:spcBef>
                <a:spcPts val="500"/>
              </a:spcBef>
              <a:buFont typeface="Arial"/>
              <a:buChar char="•"/>
              <a:defRPr sz="1600" kern="1200">
                <a:solidFill>
                  <a:srgbClr val="727073"/>
                </a:solidFill>
                <a:latin typeface="+mn-lt"/>
                <a:ea typeface="+mn-ea"/>
                <a:cs typeface="+mn-cs"/>
              </a:defRPr>
            </a:lvl4pPr>
            <a:lvl5pPr marL="1598400" indent="-228600" algn="l" defTabSz="914400" rtl="0" eaLnBrk="1" latinLnBrk="0" hangingPunct="1">
              <a:lnSpc>
                <a:spcPct val="100000"/>
              </a:lnSpc>
              <a:spcBef>
                <a:spcPts val="500"/>
              </a:spcBef>
              <a:buFont typeface="Arial"/>
              <a:buChar char="•"/>
              <a:defRPr sz="1600" kern="1200">
                <a:solidFill>
                  <a:srgbClr val="BEC0CB"/>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lgn="just">
              <a:buFont typeface="Arial" panose="020B0604020202020204" pitchFamily="34" charset="0"/>
              <a:buChar char="•"/>
            </a:pPr>
            <a:r>
              <a:rPr lang="en-GB" sz="1400" dirty="0">
                <a:solidFill>
                  <a:schemeClr val="accent4"/>
                </a:solidFill>
              </a:rPr>
              <a:t>Total revenue </a:t>
            </a:r>
            <a:r>
              <a:rPr lang="en-US" sz="1400" dirty="0">
                <a:solidFill>
                  <a:schemeClr val="accent4"/>
                </a:solidFill>
              </a:rPr>
              <a:t>increased by 98% YoY primarily due to the growth in these </a:t>
            </a:r>
            <a:r>
              <a:rPr lang="vi-VN" sz="1400" dirty="0">
                <a:solidFill>
                  <a:schemeClr val="accent4"/>
                </a:solidFill>
              </a:rPr>
              <a:t>respective</a:t>
            </a:r>
            <a:r>
              <a:rPr lang="en-US" sz="1400" dirty="0">
                <a:solidFill>
                  <a:schemeClr val="accent4"/>
                </a:solidFill>
              </a:rPr>
              <a:t> product categories: Pangasius Products (+121% YoY), By-products (+26% YoY), Wellness (+23% YoY), and Miscellaneous (+1712% YoY), Shrimp chips (+29% YoY), and Rice products (+23%); partly offset by Value-added products (-13% YoY)  </a:t>
            </a:r>
            <a:endParaRPr lang="en-US" sz="1400" dirty="0">
              <a:solidFill>
                <a:schemeClr val="accent4"/>
              </a:solidFill>
              <a:cs typeface="Arial"/>
            </a:endParaRPr>
          </a:p>
          <a:p>
            <a:pPr marL="342900" indent="-342900" algn="just">
              <a:buFont typeface="Arial" panose="020B0604020202020204" pitchFamily="34" charset="0"/>
              <a:buChar char="•"/>
            </a:pPr>
            <a:r>
              <a:rPr lang="en-US" sz="1400" dirty="0">
                <a:solidFill>
                  <a:schemeClr val="accent4"/>
                </a:solidFill>
              </a:rPr>
              <a:t>Revenue growth is seen across the U.S. (+240% YoY), ROW (+18% YoY), and Vietnam (+112% YoY); partly offset by China (-20% YoY), and Europe (-3% YoY)</a:t>
            </a:r>
            <a:endParaRPr lang="en-US" sz="1400" dirty="0">
              <a:solidFill>
                <a:schemeClr val="accent4"/>
              </a:solidFill>
              <a:cs typeface="Arial"/>
            </a:endParaRPr>
          </a:p>
        </p:txBody>
      </p:sp>
      <p:sp>
        <p:nvSpPr>
          <p:cNvPr id="100" name="Rectangle 99">
            <a:extLst>
              <a:ext uri="{FF2B5EF4-FFF2-40B4-BE49-F238E27FC236}">
                <a16:creationId xmlns:a16="http://schemas.microsoft.com/office/drawing/2014/main" id="{A1B4FFFA-1D87-4EF7-BB95-AEA2D2D3F1F5}"/>
              </a:ext>
            </a:extLst>
          </p:cNvPr>
          <p:cNvSpPr/>
          <p:nvPr/>
        </p:nvSpPr>
        <p:spPr>
          <a:xfrm>
            <a:off x="1236903" y="6259688"/>
            <a:ext cx="9672101" cy="461665"/>
          </a:xfrm>
          <a:prstGeom prst="rect">
            <a:avLst/>
          </a:prstGeom>
        </p:spPr>
        <p:txBody>
          <a:bodyPr wrap="square">
            <a:spAutoFit/>
          </a:bodyPr>
          <a:lstStyle/>
          <a:p>
            <a:r>
              <a:rPr lang="en-US" sz="1200">
                <a:solidFill>
                  <a:srgbClr val="BEC0CB"/>
                </a:solidFill>
              </a:rPr>
              <a:t>Source: Management; Note: rounded preliminary figures not audited or reviewed in VND billions; figures presented in net revenue basis, net of sales return and deduction; ROW denotes Rest of World (incl. HK)</a:t>
            </a:r>
            <a:endParaRPr lang="en-US" sz="1200">
              <a:solidFill>
                <a:srgbClr val="FF0000"/>
              </a:solidFill>
            </a:endParaRPr>
          </a:p>
        </p:txBody>
      </p:sp>
      <p:cxnSp>
        <p:nvCxnSpPr>
          <p:cNvPr id="78" name="Straight Connector 77">
            <a:extLst>
              <a:ext uri="{FF2B5EF4-FFF2-40B4-BE49-F238E27FC236}">
                <a16:creationId xmlns:a16="http://schemas.microsoft.com/office/drawing/2014/main" id="{4660D335-3947-C851-930E-2E7DB645710A}"/>
              </a:ext>
            </a:extLst>
          </p:cNvPr>
          <p:cNvCxnSpPr>
            <a:cxnSpLocks/>
          </p:cNvCxnSpPr>
          <p:nvPr>
            <p:custDataLst>
              <p:tags r:id="rId1"/>
            </p:custDataLst>
          </p:nvPr>
        </p:nvCxnSpPr>
        <p:spPr bwMode="auto">
          <a:xfrm flipV="1">
            <a:off x="240540" y="806576"/>
            <a:ext cx="0" cy="981584"/>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B7BB6F33-DF26-58F6-94CF-F07AAD78C54A}"/>
              </a:ext>
            </a:extLst>
          </p:cNvPr>
          <p:cNvCxnSpPr>
            <a:cxnSpLocks/>
          </p:cNvCxnSpPr>
          <p:nvPr>
            <p:custDataLst>
              <p:tags r:id="rId2"/>
            </p:custDataLst>
          </p:nvPr>
        </p:nvCxnSpPr>
        <p:spPr bwMode="auto">
          <a:xfrm>
            <a:off x="896690" y="785822"/>
            <a:ext cx="0" cy="25921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DC2EA58E-BF2B-3071-AE6B-3913C0083731}"/>
              </a:ext>
            </a:extLst>
          </p:cNvPr>
          <p:cNvSpPr/>
          <p:nvPr>
            <p:custDataLst>
              <p:tags r:id="rId3"/>
            </p:custDataLst>
          </p:nvPr>
        </p:nvSpPr>
        <p:spPr bwMode="auto">
          <a:xfrm>
            <a:off x="247402" y="613806"/>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21%</a:t>
            </a:r>
            <a:endParaRPr lang="en-US" sz="1400" b="1" dirty="0">
              <a:solidFill>
                <a:schemeClr val="tx1"/>
              </a:solidFill>
              <a:sym typeface="+mn-lt"/>
            </a:endParaRPr>
          </a:p>
        </p:txBody>
      </p:sp>
      <p:cxnSp>
        <p:nvCxnSpPr>
          <p:cNvPr id="90" name="Straight Connector 89">
            <a:extLst>
              <a:ext uri="{FF2B5EF4-FFF2-40B4-BE49-F238E27FC236}">
                <a16:creationId xmlns:a16="http://schemas.microsoft.com/office/drawing/2014/main" id="{54C9AFF0-96E7-4244-92C3-0C97950B88C9}"/>
              </a:ext>
            </a:extLst>
          </p:cNvPr>
          <p:cNvCxnSpPr>
            <a:cxnSpLocks/>
          </p:cNvCxnSpPr>
          <p:nvPr>
            <p:custDataLst>
              <p:tags r:id="rId4"/>
            </p:custDataLst>
          </p:nvPr>
        </p:nvCxnSpPr>
        <p:spPr bwMode="auto">
          <a:xfrm flipV="1">
            <a:off x="1357210" y="2122228"/>
            <a:ext cx="0" cy="241001"/>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68AE58E-978A-0AC8-0E9E-1152540295EF}"/>
              </a:ext>
            </a:extLst>
          </p:cNvPr>
          <p:cNvCxnSpPr>
            <a:cxnSpLocks/>
          </p:cNvCxnSpPr>
          <p:nvPr>
            <p:custDataLst>
              <p:tags r:id="rId5"/>
            </p:custDataLst>
          </p:nvPr>
        </p:nvCxnSpPr>
        <p:spPr bwMode="auto">
          <a:xfrm>
            <a:off x="1995909" y="2081588"/>
            <a:ext cx="0" cy="25921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2" name="Oval 91">
            <a:extLst>
              <a:ext uri="{FF2B5EF4-FFF2-40B4-BE49-F238E27FC236}">
                <a16:creationId xmlns:a16="http://schemas.microsoft.com/office/drawing/2014/main" id="{8EF7FD2E-C18C-63FE-D759-2D8423A30CAF}"/>
              </a:ext>
            </a:extLst>
          </p:cNvPr>
          <p:cNvSpPr/>
          <p:nvPr>
            <p:custDataLst>
              <p:tags r:id="rId6"/>
            </p:custDataLst>
          </p:nvPr>
        </p:nvSpPr>
        <p:spPr bwMode="auto">
          <a:xfrm>
            <a:off x="1353912" y="1919298"/>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6%</a:t>
            </a:r>
            <a:endParaRPr lang="en-US" sz="1400" b="1" dirty="0">
              <a:solidFill>
                <a:schemeClr val="tx1"/>
              </a:solidFill>
              <a:sym typeface="+mn-lt"/>
            </a:endParaRPr>
          </a:p>
        </p:txBody>
      </p:sp>
      <p:cxnSp>
        <p:nvCxnSpPr>
          <p:cNvPr id="99" name="Straight Connector 98">
            <a:extLst>
              <a:ext uri="{FF2B5EF4-FFF2-40B4-BE49-F238E27FC236}">
                <a16:creationId xmlns:a16="http://schemas.microsoft.com/office/drawing/2014/main" id="{84A6401D-0B01-9A24-0DDF-92D4F6284EB9}"/>
              </a:ext>
            </a:extLst>
          </p:cNvPr>
          <p:cNvCxnSpPr>
            <a:cxnSpLocks/>
          </p:cNvCxnSpPr>
          <p:nvPr>
            <p:custDataLst>
              <p:tags r:id="rId7"/>
            </p:custDataLst>
          </p:nvPr>
        </p:nvCxnSpPr>
        <p:spPr bwMode="auto">
          <a:xfrm flipV="1">
            <a:off x="2512770" y="2224106"/>
            <a:ext cx="0" cy="214294"/>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02BD64A-F2D1-96BA-A75F-DB5C096D85CE}"/>
              </a:ext>
            </a:extLst>
          </p:cNvPr>
          <p:cNvCxnSpPr>
            <a:cxnSpLocks/>
          </p:cNvCxnSpPr>
          <p:nvPr>
            <p:custDataLst>
              <p:tags r:id="rId8"/>
            </p:custDataLst>
          </p:nvPr>
        </p:nvCxnSpPr>
        <p:spPr bwMode="auto">
          <a:xfrm>
            <a:off x="3138874" y="2224106"/>
            <a:ext cx="0" cy="32404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102" name="Oval 101">
            <a:extLst>
              <a:ext uri="{FF2B5EF4-FFF2-40B4-BE49-F238E27FC236}">
                <a16:creationId xmlns:a16="http://schemas.microsoft.com/office/drawing/2014/main" id="{B1A40D40-25B1-B8B2-3356-1756CE174FF0}"/>
              </a:ext>
            </a:extLst>
          </p:cNvPr>
          <p:cNvSpPr/>
          <p:nvPr>
            <p:custDataLst>
              <p:tags r:id="rId9"/>
            </p:custDataLst>
          </p:nvPr>
        </p:nvSpPr>
        <p:spPr bwMode="auto">
          <a:xfrm>
            <a:off x="2512770" y="2050350"/>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3%</a:t>
            </a:r>
            <a:endParaRPr lang="en-US" sz="1400" b="1" dirty="0">
              <a:solidFill>
                <a:schemeClr val="tx1"/>
              </a:solidFill>
              <a:sym typeface="+mn-lt"/>
            </a:endParaRPr>
          </a:p>
        </p:txBody>
      </p:sp>
      <p:cxnSp>
        <p:nvCxnSpPr>
          <p:cNvPr id="27" name="Straight Connector 26">
            <a:extLst>
              <a:ext uri="{FF2B5EF4-FFF2-40B4-BE49-F238E27FC236}">
                <a16:creationId xmlns:a16="http://schemas.microsoft.com/office/drawing/2014/main" id="{CEAE793C-5AFB-89C8-3BF3-F4AC8FF0C745}"/>
              </a:ext>
            </a:extLst>
          </p:cNvPr>
          <p:cNvCxnSpPr>
            <a:cxnSpLocks/>
          </p:cNvCxnSpPr>
          <p:nvPr>
            <p:custDataLst>
              <p:tags r:id="rId10"/>
            </p:custDataLst>
          </p:nvPr>
        </p:nvCxnSpPr>
        <p:spPr bwMode="auto">
          <a:xfrm flipV="1">
            <a:off x="3668415" y="2392086"/>
            <a:ext cx="0" cy="177971"/>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4A4C80D7-3EC8-53E9-086A-9C30D582B27E}"/>
              </a:ext>
            </a:extLst>
          </p:cNvPr>
          <p:cNvCxnSpPr>
            <a:cxnSpLocks/>
          </p:cNvCxnSpPr>
          <p:nvPr>
            <p:custDataLst>
              <p:tags r:id="rId11"/>
            </p:custDataLst>
          </p:nvPr>
        </p:nvCxnSpPr>
        <p:spPr bwMode="auto">
          <a:xfrm>
            <a:off x="4304245" y="2340852"/>
            <a:ext cx="0" cy="289116"/>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9" name="Oval 28">
            <a:extLst>
              <a:ext uri="{FF2B5EF4-FFF2-40B4-BE49-F238E27FC236}">
                <a16:creationId xmlns:a16="http://schemas.microsoft.com/office/drawing/2014/main" id="{B73D0C22-00DD-2824-6640-FAD43813FF2F}"/>
              </a:ext>
            </a:extLst>
          </p:cNvPr>
          <p:cNvSpPr/>
          <p:nvPr>
            <p:custDataLst>
              <p:tags r:id="rId12"/>
            </p:custDataLst>
          </p:nvPr>
        </p:nvSpPr>
        <p:spPr bwMode="auto">
          <a:xfrm>
            <a:off x="3654957" y="2168836"/>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712%</a:t>
            </a:r>
            <a:endParaRPr lang="en-US" sz="1400" b="1" dirty="0">
              <a:solidFill>
                <a:schemeClr val="tx1"/>
              </a:solidFill>
              <a:sym typeface="+mn-lt"/>
            </a:endParaRPr>
          </a:p>
        </p:txBody>
      </p:sp>
      <p:cxnSp>
        <p:nvCxnSpPr>
          <p:cNvPr id="32" name="Straight Connector 31">
            <a:extLst>
              <a:ext uri="{FF2B5EF4-FFF2-40B4-BE49-F238E27FC236}">
                <a16:creationId xmlns:a16="http://schemas.microsoft.com/office/drawing/2014/main" id="{994A070D-41B7-7DA4-B686-478F3C624FE6}"/>
              </a:ext>
            </a:extLst>
          </p:cNvPr>
          <p:cNvCxnSpPr>
            <a:cxnSpLocks/>
          </p:cNvCxnSpPr>
          <p:nvPr>
            <p:custDataLst>
              <p:tags r:id="rId13"/>
            </p:custDataLst>
          </p:nvPr>
        </p:nvCxnSpPr>
        <p:spPr bwMode="auto">
          <a:xfrm flipV="1">
            <a:off x="4804452" y="2420561"/>
            <a:ext cx="0" cy="147909"/>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645A9C6-A743-2AE0-C3E0-7E4517D2718E}"/>
              </a:ext>
            </a:extLst>
          </p:cNvPr>
          <p:cNvCxnSpPr>
            <a:cxnSpLocks/>
          </p:cNvCxnSpPr>
          <p:nvPr>
            <p:custDataLst>
              <p:tags r:id="rId14"/>
            </p:custDataLst>
          </p:nvPr>
        </p:nvCxnSpPr>
        <p:spPr bwMode="auto">
          <a:xfrm>
            <a:off x="5460602" y="2436384"/>
            <a:ext cx="0" cy="22990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4" name="Oval 33">
            <a:extLst>
              <a:ext uri="{FF2B5EF4-FFF2-40B4-BE49-F238E27FC236}">
                <a16:creationId xmlns:a16="http://schemas.microsoft.com/office/drawing/2014/main" id="{E460A588-BB9A-BEB5-91DF-D3E88FE46D60}"/>
              </a:ext>
            </a:extLst>
          </p:cNvPr>
          <p:cNvSpPr/>
          <p:nvPr>
            <p:custDataLst>
              <p:tags r:id="rId15"/>
            </p:custDataLst>
          </p:nvPr>
        </p:nvSpPr>
        <p:spPr bwMode="auto">
          <a:xfrm>
            <a:off x="4801154" y="2254208"/>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9%</a:t>
            </a:r>
            <a:endParaRPr lang="en-US" sz="1400" b="1" dirty="0">
              <a:solidFill>
                <a:schemeClr val="tx1"/>
              </a:solidFill>
              <a:sym typeface="+mn-lt"/>
            </a:endParaRPr>
          </a:p>
        </p:txBody>
      </p:sp>
      <p:cxnSp>
        <p:nvCxnSpPr>
          <p:cNvPr id="35" name="Straight Connector 34">
            <a:extLst>
              <a:ext uri="{FF2B5EF4-FFF2-40B4-BE49-F238E27FC236}">
                <a16:creationId xmlns:a16="http://schemas.microsoft.com/office/drawing/2014/main" id="{5589DFE5-0C9D-03DA-BF48-B2902018C4A6}"/>
              </a:ext>
            </a:extLst>
          </p:cNvPr>
          <p:cNvCxnSpPr>
            <a:cxnSpLocks/>
          </p:cNvCxnSpPr>
          <p:nvPr>
            <p:custDataLst>
              <p:tags r:id="rId16"/>
            </p:custDataLst>
          </p:nvPr>
        </p:nvCxnSpPr>
        <p:spPr bwMode="auto">
          <a:xfrm flipV="1">
            <a:off x="5909441" y="2433715"/>
            <a:ext cx="0" cy="186093"/>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F6821F24-9DD5-B62F-5269-B97D24D2AC17}"/>
              </a:ext>
            </a:extLst>
          </p:cNvPr>
          <p:cNvCxnSpPr>
            <a:cxnSpLocks/>
          </p:cNvCxnSpPr>
          <p:nvPr>
            <p:custDataLst>
              <p:tags r:id="rId17"/>
            </p:custDataLst>
          </p:nvPr>
        </p:nvCxnSpPr>
        <p:spPr bwMode="auto">
          <a:xfrm>
            <a:off x="6555431" y="2443441"/>
            <a:ext cx="0" cy="22990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37" name="Oval 36">
            <a:extLst>
              <a:ext uri="{FF2B5EF4-FFF2-40B4-BE49-F238E27FC236}">
                <a16:creationId xmlns:a16="http://schemas.microsoft.com/office/drawing/2014/main" id="{7356D0B9-1F69-F3E3-0153-4D5E53FEF2F7}"/>
              </a:ext>
            </a:extLst>
          </p:cNvPr>
          <p:cNvSpPr/>
          <p:nvPr>
            <p:custDataLst>
              <p:tags r:id="rId18"/>
            </p:custDataLst>
          </p:nvPr>
        </p:nvSpPr>
        <p:spPr bwMode="auto">
          <a:xfrm>
            <a:off x="5906143" y="2271425"/>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3%</a:t>
            </a:r>
            <a:endParaRPr lang="en-US" sz="1400" b="1" dirty="0">
              <a:solidFill>
                <a:schemeClr val="tx1"/>
              </a:solidFill>
              <a:sym typeface="+mn-lt"/>
            </a:endParaRPr>
          </a:p>
        </p:txBody>
      </p:sp>
      <p:cxnSp>
        <p:nvCxnSpPr>
          <p:cNvPr id="38" name="Straight Connector 37">
            <a:extLst>
              <a:ext uri="{FF2B5EF4-FFF2-40B4-BE49-F238E27FC236}">
                <a16:creationId xmlns:a16="http://schemas.microsoft.com/office/drawing/2014/main" id="{1251DB2D-0361-F083-C8CD-2D31A6638D40}"/>
              </a:ext>
            </a:extLst>
          </p:cNvPr>
          <p:cNvCxnSpPr>
            <a:cxnSpLocks/>
          </p:cNvCxnSpPr>
          <p:nvPr>
            <p:custDataLst>
              <p:tags r:id="rId19"/>
            </p:custDataLst>
          </p:nvPr>
        </p:nvCxnSpPr>
        <p:spPr bwMode="auto">
          <a:xfrm flipV="1">
            <a:off x="7031871" y="2439295"/>
            <a:ext cx="0" cy="226992"/>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FF4D8EA7-55E8-C7F8-33C7-5E9009DBB285}"/>
              </a:ext>
            </a:extLst>
          </p:cNvPr>
          <p:cNvCxnSpPr>
            <a:cxnSpLocks/>
          </p:cNvCxnSpPr>
          <p:nvPr>
            <p:custDataLst>
              <p:tags r:id="rId20"/>
            </p:custDataLst>
          </p:nvPr>
        </p:nvCxnSpPr>
        <p:spPr bwMode="auto">
          <a:xfrm>
            <a:off x="7667701" y="2438861"/>
            <a:ext cx="0" cy="22990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40" name="Oval 39">
            <a:extLst>
              <a:ext uri="{FF2B5EF4-FFF2-40B4-BE49-F238E27FC236}">
                <a16:creationId xmlns:a16="http://schemas.microsoft.com/office/drawing/2014/main" id="{B1709B42-0881-F3C8-BC66-5CD9DCBE75B1}"/>
              </a:ext>
            </a:extLst>
          </p:cNvPr>
          <p:cNvSpPr/>
          <p:nvPr>
            <p:custDataLst>
              <p:tags r:id="rId21"/>
            </p:custDataLst>
          </p:nvPr>
        </p:nvSpPr>
        <p:spPr bwMode="auto">
          <a:xfrm>
            <a:off x="7018413" y="2266845"/>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3%</a:t>
            </a:r>
            <a:endParaRPr lang="en-US" sz="1400" b="1" dirty="0">
              <a:solidFill>
                <a:schemeClr val="tx1"/>
              </a:solidFill>
              <a:sym typeface="+mn-lt"/>
            </a:endParaRPr>
          </a:p>
        </p:txBody>
      </p:sp>
      <p:cxnSp>
        <p:nvCxnSpPr>
          <p:cNvPr id="61" name="Straight Connector 60">
            <a:extLst>
              <a:ext uri="{FF2B5EF4-FFF2-40B4-BE49-F238E27FC236}">
                <a16:creationId xmlns:a16="http://schemas.microsoft.com/office/drawing/2014/main" id="{301534DA-3490-783A-575B-7381C5DB4935}"/>
              </a:ext>
            </a:extLst>
          </p:cNvPr>
          <p:cNvCxnSpPr>
            <a:cxnSpLocks/>
          </p:cNvCxnSpPr>
          <p:nvPr>
            <p:custDataLst>
              <p:tags r:id="rId22"/>
            </p:custDataLst>
          </p:nvPr>
        </p:nvCxnSpPr>
        <p:spPr bwMode="auto">
          <a:xfrm flipV="1">
            <a:off x="363619" y="5065391"/>
            <a:ext cx="0" cy="380576"/>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3" name="Oval 62">
            <a:extLst>
              <a:ext uri="{FF2B5EF4-FFF2-40B4-BE49-F238E27FC236}">
                <a16:creationId xmlns:a16="http://schemas.microsoft.com/office/drawing/2014/main" id="{48C043F0-2FB8-7D56-D0D2-409A97025C53}"/>
              </a:ext>
            </a:extLst>
          </p:cNvPr>
          <p:cNvSpPr/>
          <p:nvPr>
            <p:custDataLst>
              <p:tags r:id="rId23"/>
            </p:custDataLst>
          </p:nvPr>
        </p:nvSpPr>
        <p:spPr bwMode="auto">
          <a:xfrm>
            <a:off x="363619" y="4867252"/>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8%</a:t>
            </a:r>
            <a:endParaRPr lang="en-US" sz="1400" b="1" dirty="0">
              <a:solidFill>
                <a:schemeClr val="tx1"/>
              </a:solidFill>
              <a:sym typeface="+mn-lt"/>
            </a:endParaRPr>
          </a:p>
        </p:txBody>
      </p:sp>
      <p:cxnSp>
        <p:nvCxnSpPr>
          <p:cNvPr id="67" name="Straight Connector 66">
            <a:extLst>
              <a:ext uri="{FF2B5EF4-FFF2-40B4-BE49-F238E27FC236}">
                <a16:creationId xmlns:a16="http://schemas.microsoft.com/office/drawing/2014/main" id="{F6AAE64D-53D0-A0AA-8710-472C1410D249}"/>
              </a:ext>
            </a:extLst>
          </p:cNvPr>
          <p:cNvCxnSpPr>
            <a:cxnSpLocks/>
          </p:cNvCxnSpPr>
          <p:nvPr>
            <p:custDataLst>
              <p:tags r:id="rId24"/>
            </p:custDataLst>
          </p:nvPr>
        </p:nvCxnSpPr>
        <p:spPr bwMode="auto">
          <a:xfrm flipV="1">
            <a:off x="1704326" y="5037002"/>
            <a:ext cx="0" cy="266046"/>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69" name="Oval 68">
            <a:extLst>
              <a:ext uri="{FF2B5EF4-FFF2-40B4-BE49-F238E27FC236}">
                <a16:creationId xmlns:a16="http://schemas.microsoft.com/office/drawing/2014/main" id="{7F404CDF-9C8A-EE18-3291-809D8814DB78}"/>
              </a:ext>
            </a:extLst>
          </p:cNvPr>
          <p:cNvSpPr/>
          <p:nvPr>
            <p:custDataLst>
              <p:tags r:id="rId25"/>
            </p:custDataLst>
          </p:nvPr>
        </p:nvSpPr>
        <p:spPr bwMode="auto">
          <a:xfrm>
            <a:off x="1704326" y="4859183"/>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0%</a:t>
            </a:r>
            <a:endParaRPr lang="en-US" sz="1400" b="1" dirty="0">
              <a:solidFill>
                <a:schemeClr val="tx1"/>
              </a:solidFill>
              <a:sym typeface="+mn-lt"/>
            </a:endParaRPr>
          </a:p>
        </p:txBody>
      </p:sp>
      <p:cxnSp>
        <p:nvCxnSpPr>
          <p:cNvPr id="70" name="Straight Connector 69">
            <a:extLst>
              <a:ext uri="{FF2B5EF4-FFF2-40B4-BE49-F238E27FC236}">
                <a16:creationId xmlns:a16="http://schemas.microsoft.com/office/drawing/2014/main" id="{4E66214B-5F54-2D90-8244-D12C86938293}"/>
              </a:ext>
            </a:extLst>
          </p:cNvPr>
          <p:cNvCxnSpPr>
            <a:cxnSpLocks/>
          </p:cNvCxnSpPr>
          <p:nvPr>
            <p:custDataLst>
              <p:tags r:id="rId26"/>
            </p:custDataLst>
          </p:nvPr>
        </p:nvCxnSpPr>
        <p:spPr bwMode="auto">
          <a:xfrm flipV="1">
            <a:off x="3026540" y="5057322"/>
            <a:ext cx="0" cy="309018"/>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FE6C76ED-1A58-1042-9A30-83B8360D470E}"/>
              </a:ext>
            </a:extLst>
          </p:cNvPr>
          <p:cNvCxnSpPr>
            <a:cxnSpLocks/>
          </p:cNvCxnSpPr>
          <p:nvPr>
            <p:custDataLst>
              <p:tags r:id="rId27"/>
            </p:custDataLst>
          </p:nvPr>
        </p:nvCxnSpPr>
        <p:spPr bwMode="auto">
          <a:xfrm>
            <a:off x="3652644" y="5057322"/>
            <a:ext cx="0" cy="38864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2" name="Oval 71">
            <a:extLst>
              <a:ext uri="{FF2B5EF4-FFF2-40B4-BE49-F238E27FC236}">
                <a16:creationId xmlns:a16="http://schemas.microsoft.com/office/drawing/2014/main" id="{0262586C-DEB2-0D78-0CB3-C6AA0F6B2B96}"/>
              </a:ext>
            </a:extLst>
          </p:cNvPr>
          <p:cNvSpPr/>
          <p:nvPr>
            <p:custDataLst>
              <p:tags r:id="rId28"/>
            </p:custDataLst>
          </p:nvPr>
        </p:nvSpPr>
        <p:spPr bwMode="auto">
          <a:xfrm>
            <a:off x="3026540" y="4883566"/>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3%</a:t>
            </a:r>
            <a:endParaRPr lang="en-US" sz="1400" b="1" dirty="0">
              <a:solidFill>
                <a:schemeClr val="tx1"/>
              </a:solidFill>
              <a:sym typeface="+mn-lt"/>
            </a:endParaRPr>
          </a:p>
        </p:txBody>
      </p:sp>
      <p:cxnSp>
        <p:nvCxnSpPr>
          <p:cNvPr id="73" name="Straight Connector 72">
            <a:extLst>
              <a:ext uri="{FF2B5EF4-FFF2-40B4-BE49-F238E27FC236}">
                <a16:creationId xmlns:a16="http://schemas.microsoft.com/office/drawing/2014/main" id="{45A91960-F7C3-5557-2452-269023704CD9}"/>
              </a:ext>
            </a:extLst>
          </p:cNvPr>
          <p:cNvCxnSpPr>
            <a:cxnSpLocks/>
          </p:cNvCxnSpPr>
          <p:nvPr>
            <p:custDataLst>
              <p:tags r:id="rId29"/>
            </p:custDataLst>
          </p:nvPr>
        </p:nvCxnSpPr>
        <p:spPr bwMode="auto">
          <a:xfrm flipV="1">
            <a:off x="4263605" y="5017490"/>
            <a:ext cx="0" cy="370013"/>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7E381D9D-A137-6751-628C-E0376DE47315}"/>
              </a:ext>
            </a:extLst>
          </p:cNvPr>
          <p:cNvCxnSpPr>
            <a:cxnSpLocks/>
          </p:cNvCxnSpPr>
          <p:nvPr>
            <p:custDataLst>
              <p:tags r:id="rId30"/>
            </p:custDataLst>
          </p:nvPr>
        </p:nvCxnSpPr>
        <p:spPr bwMode="auto">
          <a:xfrm>
            <a:off x="4920189" y="5017490"/>
            <a:ext cx="0" cy="30587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5" name="Oval 74">
            <a:extLst>
              <a:ext uri="{FF2B5EF4-FFF2-40B4-BE49-F238E27FC236}">
                <a16:creationId xmlns:a16="http://schemas.microsoft.com/office/drawing/2014/main" id="{534A59BB-5CA6-37D0-53F7-CFCBBF0E34DD}"/>
              </a:ext>
            </a:extLst>
          </p:cNvPr>
          <p:cNvSpPr/>
          <p:nvPr>
            <p:custDataLst>
              <p:tags r:id="rId31"/>
            </p:custDataLst>
          </p:nvPr>
        </p:nvSpPr>
        <p:spPr bwMode="auto">
          <a:xfrm>
            <a:off x="4263605" y="4843734"/>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12%</a:t>
            </a:r>
            <a:endParaRPr lang="en-US" sz="1400" b="1" dirty="0">
              <a:solidFill>
                <a:schemeClr val="tx1"/>
              </a:solidFill>
              <a:sym typeface="+mn-lt"/>
            </a:endParaRPr>
          </a:p>
        </p:txBody>
      </p:sp>
      <p:cxnSp>
        <p:nvCxnSpPr>
          <p:cNvPr id="81" name="Straight Connector 80">
            <a:extLst>
              <a:ext uri="{FF2B5EF4-FFF2-40B4-BE49-F238E27FC236}">
                <a16:creationId xmlns:a16="http://schemas.microsoft.com/office/drawing/2014/main" id="{559BD359-BEA4-834C-1C1D-6CF6F3A89AB3}"/>
              </a:ext>
            </a:extLst>
          </p:cNvPr>
          <p:cNvCxnSpPr>
            <a:cxnSpLocks/>
          </p:cNvCxnSpPr>
          <p:nvPr>
            <p:custDataLst>
              <p:tags r:id="rId32"/>
            </p:custDataLst>
          </p:nvPr>
        </p:nvCxnSpPr>
        <p:spPr bwMode="auto">
          <a:xfrm flipV="1">
            <a:off x="5559707" y="4325229"/>
            <a:ext cx="0" cy="899714"/>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1B078B5E-3EE7-DB1C-4C72-14633C36F17C}"/>
              </a:ext>
            </a:extLst>
          </p:cNvPr>
          <p:cNvCxnSpPr>
            <a:cxnSpLocks/>
          </p:cNvCxnSpPr>
          <p:nvPr>
            <p:custDataLst>
              <p:tags r:id="rId33"/>
            </p:custDataLst>
          </p:nvPr>
        </p:nvCxnSpPr>
        <p:spPr bwMode="auto">
          <a:xfrm>
            <a:off x="6206131" y="4315069"/>
            <a:ext cx="0" cy="250385"/>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66B90A20-716E-99B2-B5D9-C682CCCFAB27}"/>
              </a:ext>
            </a:extLst>
          </p:cNvPr>
          <p:cNvSpPr/>
          <p:nvPr>
            <p:custDataLst>
              <p:tags r:id="rId34"/>
            </p:custDataLst>
          </p:nvPr>
        </p:nvSpPr>
        <p:spPr bwMode="auto">
          <a:xfrm>
            <a:off x="5559707" y="4151473"/>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40%</a:t>
            </a:r>
            <a:endParaRPr lang="en-US" sz="1400" b="1" dirty="0">
              <a:solidFill>
                <a:schemeClr val="tx1"/>
              </a:solidFill>
              <a:sym typeface="+mn-lt"/>
            </a:endParaRPr>
          </a:p>
        </p:txBody>
      </p:sp>
      <p:cxnSp>
        <p:nvCxnSpPr>
          <p:cNvPr id="48" name="Straight Connector 47">
            <a:extLst>
              <a:ext uri="{FF2B5EF4-FFF2-40B4-BE49-F238E27FC236}">
                <a16:creationId xmlns:a16="http://schemas.microsoft.com/office/drawing/2014/main" id="{47023531-300C-B497-5A53-FA75C1C511FF}"/>
              </a:ext>
            </a:extLst>
          </p:cNvPr>
          <p:cNvCxnSpPr>
            <a:cxnSpLocks/>
          </p:cNvCxnSpPr>
          <p:nvPr>
            <p:custDataLst>
              <p:tags r:id="rId35"/>
            </p:custDataLst>
          </p:nvPr>
        </p:nvCxnSpPr>
        <p:spPr bwMode="auto">
          <a:xfrm flipV="1">
            <a:off x="6927486" y="3538017"/>
            <a:ext cx="0" cy="1143157"/>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EDC31AC6-6294-F81A-115F-A0FED8CFB19D}"/>
              </a:ext>
            </a:extLst>
          </p:cNvPr>
          <p:cNvCxnSpPr>
            <a:cxnSpLocks/>
          </p:cNvCxnSpPr>
          <p:nvPr>
            <p:custDataLst>
              <p:tags r:id="rId36"/>
            </p:custDataLst>
          </p:nvPr>
        </p:nvCxnSpPr>
        <p:spPr bwMode="auto">
          <a:xfrm>
            <a:off x="7584070" y="3538017"/>
            <a:ext cx="0" cy="410997"/>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4E27A8EA-D260-14DE-E961-77857D37EAD8}"/>
              </a:ext>
            </a:extLst>
          </p:cNvPr>
          <p:cNvSpPr/>
          <p:nvPr>
            <p:custDataLst>
              <p:tags r:id="rId37"/>
            </p:custDataLst>
          </p:nvPr>
        </p:nvSpPr>
        <p:spPr bwMode="auto">
          <a:xfrm>
            <a:off x="6927486" y="3364261"/>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a:solidFill>
                  <a:schemeClr val="tx1"/>
                </a:solidFill>
              </a:rPr>
              <a:t>+98%</a:t>
            </a:r>
            <a:endParaRPr lang="en-US" sz="1400" b="1" dirty="0">
              <a:solidFill>
                <a:schemeClr val="tx1"/>
              </a:solidFill>
              <a:sym typeface="+mn-lt"/>
            </a:endParaRPr>
          </a:p>
        </p:txBody>
      </p:sp>
      <p:cxnSp>
        <p:nvCxnSpPr>
          <p:cNvPr id="51" name="Straight Connector 50">
            <a:extLst>
              <a:ext uri="{FF2B5EF4-FFF2-40B4-BE49-F238E27FC236}">
                <a16:creationId xmlns:a16="http://schemas.microsoft.com/office/drawing/2014/main" id="{B1C3D2EF-58F2-4EEA-A85B-A72EBC254707}"/>
              </a:ext>
            </a:extLst>
          </p:cNvPr>
          <p:cNvCxnSpPr>
            <a:cxnSpLocks/>
          </p:cNvCxnSpPr>
          <p:nvPr>
            <p:custDataLst>
              <p:tags r:id="rId38"/>
            </p:custDataLst>
          </p:nvPr>
        </p:nvCxnSpPr>
        <p:spPr bwMode="auto">
          <a:xfrm>
            <a:off x="1015517" y="5040475"/>
            <a:ext cx="0" cy="387570"/>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a:extLst>
              <a:ext uri="{FF2B5EF4-FFF2-40B4-BE49-F238E27FC236}">
                <a16:creationId xmlns:a16="http://schemas.microsoft.com/office/drawing/2014/main" id="{05B194C8-905E-398D-F80D-0875AC6E6834}"/>
              </a:ext>
            </a:extLst>
          </p:cNvPr>
          <p:cNvCxnSpPr>
            <a:cxnSpLocks/>
          </p:cNvCxnSpPr>
          <p:nvPr>
            <p:custDataLst>
              <p:tags r:id="rId39"/>
            </p:custDataLst>
          </p:nvPr>
        </p:nvCxnSpPr>
        <p:spPr bwMode="auto">
          <a:xfrm>
            <a:off x="2349116" y="5013497"/>
            <a:ext cx="0" cy="432470"/>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850402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a:extLst>
              <a:ext uri="{FF2B5EF4-FFF2-40B4-BE49-F238E27FC236}">
                <a16:creationId xmlns:a16="http://schemas.microsoft.com/office/drawing/2014/main" id="{83104A8F-F8D8-15BA-4709-D73C327DA68C}"/>
              </a:ext>
            </a:extLst>
          </p:cNvPr>
          <p:cNvPicPr>
            <a:picLocks noChangeAspect="1"/>
          </p:cNvPicPr>
          <p:nvPr/>
        </p:nvPicPr>
        <p:blipFill>
          <a:blip r:embed="rId41"/>
          <a:stretch>
            <a:fillRect/>
          </a:stretch>
        </p:blipFill>
        <p:spPr>
          <a:xfrm>
            <a:off x="8062" y="583102"/>
            <a:ext cx="8892098" cy="5356562"/>
          </a:xfrm>
          <a:prstGeom prst="rect">
            <a:avLst/>
          </a:prstGeom>
        </p:spPr>
      </p:pic>
      <p:sp>
        <p:nvSpPr>
          <p:cNvPr id="3" name="Slide Number Placeholder 2">
            <a:extLst>
              <a:ext uri="{FF2B5EF4-FFF2-40B4-BE49-F238E27FC236}">
                <a16:creationId xmlns:a16="http://schemas.microsoft.com/office/drawing/2014/main" id="{8F811607-5A8C-475F-AF7C-A1460160360A}"/>
              </a:ext>
            </a:extLst>
          </p:cNvPr>
          <p:cNvSpPr>
            <a:spLocks noGrp="1"/>
          </p:cNvSpPr>
          <p:nvPr>
            <p:ph type="sldNum" sz="quarter" idx="4"/>
          </p:nvPr>
        </p:nvSpPr>
        <p:spPr/>
        <p:txBody>
          <a:bodyPr/>
          <a:lstStyle/>
          <a:p>
            <a:fld id="{DB744C55-FBB5-4EC4-A7FE-B77A2493A9E5}" type="slidenum">
              <a:rPr lang="en-US" smtClean="0"/>
              <a:pPr/>
              <a:t>6</a:t>
            </a:fld>
            <a:endParaRPr lang="en-US"/>
          </a:p>
        </p:txBody>
      </p:sp>
      <p:sp>
        <p:nvSpPr>
          <p:cNvPr id="5" name="Title 1">
            <a:extLst>
              <a:ext uri="{FF2B5EF4-FFF2-40B4-BE49-F238E27FC236}">
                <a16:creationId xmlns:a16="http://schemas.microsoft.com/office/drawing/2014/main" id="{BD055CBC-AA8A-43AC-ADCA-6704FA335D2A}"/>
              </a:ext>
            </a:extLst>
          </p:cNvPr>
          <p:cNvSpPr>
            <a:spLocks noGrp="1"/>
          </p:cNvSpPr>
          <p:nvPr>
            <p:ph type="title"/>
          </p:nvPr>
        </p:nvSpPr>
        <p:spPr>
          <a:xfrm>
            <a:off x="8062" y="-16694"/>
            <a:ext cx="11598246" cy="602501"/>
          </a:xfrm>
        </p:spPr>
        <p:txBody>
          <a:bodyPr/>
          <a:lstStyle/>
          <a:p>
            <a:r>
              <a:rPr lang="en-US" dirty="0"/>
              <a:t>APR 2022 Revenue dashboard – MOM</a:t>
            </a:r>
          </a:p>
        </p:txBody>
      </p:sp>
      <p:sp>
        <p:nvSpPr>
          <p:cNvPr id="65" name="Content Placeholder 3">
            <a:extLst>
              <a:ext uri="{FF2B5EF4-FFF2-40B4-BE49-F238E27FC236}">
                <a16:creationId xmlns:a16="http://schemas.microsoft.com/office/drawing/2014/main" id="{FD88B804-860F-462E-B796-6E5D2D2FDA39}"/>
              </a:ext>
            </a:extLst>
          </p:cNvPr>
          <p:cNvSpPr txBox="1">
            <a:spLocks/>
          </p:cNvSpPr>
          <p:nvPr/>
        </p:nvSpPr>
        <p:spPr>
          <a:xfrm>
            <a:off x="8884071" y="1239377"/>
            <a:ext cx="3276536" cy="5031573"/>
          </a:xfrm>
          <a:prstGeom prst="rect">
            <a:avLst/>
          </a:prstGeom>
        </p:spPr>
        <p:txBody>
          <a:bodyPr lIns="91440" tIns="45720" rIns="91440" bIns="45720" anchor="t"/>
          <a:lstStyle>
            <a:lvl1pPr marL="0" indent="0" algn="l" defTabSz="914400" rtl="0" eaLnBrk="1" latinLnBrk="0" hangingPunct="1">
              <a:lnSpc>
                <a:spcPct val="100000"/>
              </a:lnSpc>
              <a:spcBef>
                <a:spcPts val="1000"/>
              </a:spcBef>
              <a:buFont typeface="Arial"/>
              <a:buNone/>
              <a:defRPr sz="2400" kern="1200">
                <a:solidFill>
                  <a:srgbClr val="0033A0"/>
                </a:solidFill>
                <a:latin typeface="+mn-lt"/>
                <a:ea typeface="+mn-ea"/>
                <a:cs typeface="+mn-cs"/>
              </a:defRPr>
            </a:lvl1pPr>
            <a:lvl2pPr marL="230400" indent="-228600" algn="l" defTabSz="914400" rtl="0" eaLnBrk="1" latinLnBrk="0" hangingPunct="1">
              <a:lnSpc>
                <a:spcPct val="100000"/>
              </a:lnSpc>
              <a:spcBef>
                <a:spcPts val="500"/>
              </a:spcBef>
              <a:buFont typeface="Arial"/>
              <a:buChar char="•"/>
              <a:defRPr sz="2400" kern="1200">
                <a:solidFill>
                  <a:srgbClr val="41B6E6"/>
                </a:solidFill>
                <a:latin typeface="+mn-lt"/>
                <a:ea typeface="+mn-ea"/>
                <a:cs typeface="+mn-cs"/>
              </a:defRPr>
            </a:lvl2pPr>
            <a:lvl3pPr marL="684000" indent="-228600" algn="l" defTabSz="914400" rtl="0" eaLnBrk="1" latinLnBrk="0" hangingPunct="1">
              <a:lnSpc>
                <a:spcPct val="100000"/>
              </a:lnSpc>
              <a:spcBef>
                <a:spcPts val="500"/>
              </a:spcBef>
              <a:buFont typeface="Arial"/>
              <a:buChar char="•"/>
              <a:defRPr sz="2200" kern="1200">
                <a:solidFill>
                  <a:srgbClr val="6F9CEB"/>
                </a:solidFill>
                <a:latin typeface="+mn-lt"/>
                <a:ea typeface="+mn-ea"/>
                <a:cs typeface="+mn-cs"/>
              </a:defRPr>
            </a:lvl3pPr>
            <a:lvl4pPr marL="1144800" indent="-228600" algn="l" defTabSz="914400" rtl="0" eaLnBrk="1" latinLnBrk="0" hangingPunct="1">
              <a:lnSpc>
                <a:spcPct val="100000"/>
              </a:lnSpc>
              <a:spcBef>
                <a:spcPts val="500"/>
              </a:spcBef>
              <a:buFont typeface="Arial"/>
              <a:buChar char="•"/>
              <a:defRPr sz="1600" kern="1200">
                <a:solidFill>
                  <a:srgbClr val="727073"/>
                </a:solidFill>
                <a:latin typeface="+mn-lt"/>
                <a:ea typeface="+mn-ea"/>
                <a:cs typeface="+mn-cs"/>
              </a:defRPr>
            </a:lvl4pPr>
            <a:lvl5pPr marL="1598400" indent="-228600" algn="l" defTabSz="914400" rtl="0" eaLnBrk="1" latinLnBrk="0" hangingPunct="1">
              <a:lnSpc>
                <a:spcPct val="100000"/>
              </a:lnSpc>
              <a:spcBef>
                <a:spcPts val="500"/>
              </a:spcBef>
              <a:buFont typeface="Arial"/>
              <a:buChar char="•"/>
              <a:defRPr sz="1600" kern="1200">
                <a:solidFill>
                  <a:srgbClr val="BEC0CB"/>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342900" indent="-342900" algn="just">
              <a:buFont typeface="Arial" panose="020B0604020202020204" pitchFamily="34" charset="0"/>
              <a:buChar char="•"/>
            </a:pPr>
            <a:r>
              <a:rPr lang="en-US" sz="1400" dirty="0">
                <a:solidFill>
                  <a:schemeClr val="accent4"/>
                </a:solidFill>
              </a:rPr>
              <a:t>Total revenue increased +20% MoM due to the increase in all Pangasius Products (+34% MoM), By-product (+8% MoM), Value-added products (+30%), and Rice products (+43% MoM); partly offset by Miscellaneous (-17% MoM), Wellness (-17% MoM), and Shrimp chips (-8%% MoM), </a:t>
            </a:r>
          </a:p>
          <a:p>
            <a:pPr marL="342900" indent="-342900" algn="just">
              <a:buFont typeface="Arial" panose="020B0604020202020204" pitchFamily="34" charset="0"/>
              <a:buChar char="•"/>
            </a:pPr>
            <a:r>
              <a:rPr lang="en-US" sz="1400" dirty="0">
                <a:solidFill>
                  <a:schemeClr val="accent4"/>
                </a:solidFill>
              </a:rPr>
              <a:t>The increase is mainly coming  from the U.S. market (+51% MoM); partly offset by China (-24% MoM), Europe (-3% MoM), ROW (-0% MoM), and Vietnam (-3% MoM)</a:t>
            </a:r>
            <a:endParaRPr lang="en-US" sz="1400" dirty="0">
              <a:solidFill>
                <a:schemeClr val="accent4"/>
              </a:solidFill>
              <a:cs typeface="Arial"/>
            </a:endParaRPr>
          </a:p>
        </p:txBody>
      </p:sp>
      <p:sp>
        <p:nvSpPr>
          <p:cNvPr id="66" name="Rectangle 65">
            <a:extLst>
              <a:ext uri="{FF2B5EF4-FFF2-40B4-BE49-F238E27FC236}">
                <a16:creationId xmlns:a16="http://schemas.microsoft.com/office/drawing/2014/main" id="{51CD630B-CC40-4612-A450-EB0589523432}"/>
              </a:ext>
            </a:extLst>
          </p:cNvPr>
          <p:cNvSpPr/>
          <p:nvPr/>
        </p:nvSpPr>
        <p:spPr>
          <a:xfrm>
            <a:off x="1236903" y="6259688"/>
            <a:ext cx="9672101" cy="461665"/>
          </a:xfrm>
          <a:prstGeom prst="rect">
            <a:avLst/>
          </a:prstGeom>
        </p:spPr>
        <p:txBody>
          <a:bodyPr wrap="square">
            <a:spAutoFit/>
          </a:bodyPr>
          <a:lstStyle/>
          <a:p>
            <a:r>
              <a:rPr lang="en-US" sz="1200" dirty="0">
                <a:solidFill>
                  <a:srgbClr val="BEC0CB"/>
                </a:solidFill>
              </a:rPr>
              <a:t>Source: Management; Note: rounded preliminary figures not audited or reviewed in VND billions; figures presented in net revenue basis, net of sales return and deduction; ROW denotes Rest of World (incl. HK)</a:t>
            </a:r>
            <a:endParaRPr lang="en-US" sz="1200" dirty="0">
              <a:solidFill>
                <a:srgbClr val="FF0000"/>
              </a:solidFill>
            </a:endParaRPr>
          </a:p>
        </p:txBody>
      </p:sp>
      <p:cxnSp>
        <p:nvCxnSpPr>
          <p:cNvPr id="48" name="Straight Connector 47">
            <a:extLst>
              <a:ext uri="{FF2B5EF4-FFF2-40B4-BE49-F238E27FC236}">
                <a16:creationId xmlns:a16="http://schemas.microsoft.com/office/drawing/2014/main" id="{9B431B2A-00E7-4647-83B5-36B0A14E45B4}"/>
              </a:ext>
            </a:extLst>
          </p:cNvPr>
          <p:cNvCxnSpPr>
            <a:cxnSpLocks/>
          </p:cNvCxnSpPr>
          <p:nvPr>
            <p:custDataLst>
              <p:tags r:id="rId1"/>
            </p:custDataLst>
          </p:nvPr>
        </p:nvCxnSpPr>
        <p:spPr bwMode="auto">
          <a:xfrm flipV="1">
            <a:off x="238792" y="894803"/>
            <a:ext cx="0" cy="413656"/>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9" name="Straight Connector 48">
            <a:extLst>
              <a:ext uri="{FF2B5EF4-FFF2-40B4-BE49-F238E27FC236}">
                <a16:creationId xmlns:a16="http://schemas.microsoft.com/office/drawing/2014/main" id="{6DF8F70A-A5D7-4B0C-DC1B-91F2833E21DF}"/>
              </a:ext>
            </a:extLst>
          </p:cNvPr>
          <p:cNvCxnSpPr>
            <a:cxnSpLocks/>
          </p:cNvCxnSpPr>
          <p:nvPr>
            <p:custDataLst>
              <p:tags r:id="rId2"/>
            </p:custDataLst>
          </p:nvPr>
        </p:nvCxnSpPr>
        <p:spPr bwMode="auto">
          <a:xfrm>
            <a:off x="884782" y="874049"/>
            <a:ext cx="0" cy="25921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0" name="Oval 49">
            <a:extLst>
              <a:ext uri="{FF2B5EF4-FFF2-40B4-BE49-F238E27FC236}">
                <a16:creationId xmlns:a16="http://schemas.microsoft.com/office/drawing/2014/main" id="{E38617CE-51AC-2D94-C6CB-9D5361D83E7E}"/>
              </a:ext>
            </a:extLst>
          </p:cNvPr>
          <p:cNvSpPr/>
          <p:nvPr>
            <p:custDataLst>
              <p:tags r:id="rId3"/>
            </p:custDataLst>
          </p:nvPr>
        </p:nvSpPr>
        <p:spPr bwMode="auto">
          <a:xfrm>
            <a:off x="235494" y="702033"/>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34%</a:t>
            </a:r>
            <a:endParaRPr lang="en-US" sz="1400" b="1" dirty="0">
              <a:solidFill>
                <a:schemeClr val="tx1"/>
              </a:solidFill>
              <a:sym typeface="+mn-lt"/>
            </a:endParaRPr>
          </a:p>
        </p:txBody>
      </p:sp>
      <p:cxnSp>
        <p:nvCxnSpPr>
          <p:cNvPr id="51" name="Straight Connector 50">
            <a:extLst>
              <a:ext uri="{FF2B5EF4-FFF2-40B4-BE49-F238E27FC236}">
                <a16:creationId xmlns:a16="http://schemas.microsoft.com/office/drawing/2014/main" id="{DAE37551-34B7-DB4C-3F07-A3CA35AF4990}"/>
              </a:ext>
            </a:extLst>
          </p:cNvPr>
          <p:cNvCxnSpPr>
            <a:cxnSpLocks/>
          </p:cNvCxnSpPr>
          <p:nvPr>
            <p:custDataLst>
              <p:tags r:id="rId4"/>
            </p:custDataLst>
          </p:nvPr>
        </p:nvCxnSpPr>
        <p:spPr bwMode="auto">
          <a:xfrm flipV="1">
            <a:off x="1365622" y="2068215"/>
            <a:ext cx="0" cy="299858"/>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9EA946A4-928C-5443-CFCE-5C4856D623D5}"/>
              </a:ext>
            </a:extLst>
          </p:cNvPr>
          <p:cNvCxnSpPr>
            <a:cxnSpLocks/>
          </p:cNvCxnSpPr>
          <p:nvPr>
            <p:custDataLst>
              <p:tags r:id="rId5"/>
            </p:custDataLst>
          </p:nvPr>
        </p:nvCxnSpPr>
        <p:spPr bwMode="auto">
          <a:xfrm>
            <a:off x="1984001" y="2017415"/>
            <a:ext cx="0" cy="25921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3" name="Oval 52">
            <a:extLst>
              <a:ext uri="{FF2B5EF4-FFF2-40B4-BE49-F238E27FC236}">
                <a16:creationId xmlns:a16="http://schemas.microsoft.com/office/drawing/2014/main" id="{F77BD636-2FAB-024B-97CC-88C3B495299A}"/>
              </a:ext>
            </a:extLst>
          </p:cNvPr>
          <p:cNvSpPr/>
          <p:nvPr>
            <p:custDataLst>
              <p:tags r:id="rId6"/>
            </p:custDataLst>
          </p:nvPr>
        </p:nvSpPr>
        <p:spPr bwMode="auto">
          <a:xfrm>
            <a:off x="1342004" y="1885605"/>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8%</a:t>
            </a:r>
            <a:endParaRPr lang="en-US" sz="1400" b="1" dirty="0">
              <a:solidFill>
                <a:schemeClr val="tx1"/>
              </a:solidFill>
              <a:sym typeface="+mn-lt"/>
            </a:endParaRPr>
          </a:p>
        </p:txBody>
      </p:sp>
      <p:cxnSp>
        <p:nvCxnSpPr>
          <p:cNvPr id="54" name="Straight Connector 53">
            <a:extLst>
              <a:ext uri="{FF2B5EF4-FFF2-40B4-BE49-F238E27FC236}">
                <a16:creationId xmlns:a16="http://schemas.microsoft.com/office/drawing/2014/main" id="{9830246E-85BF-345B-5D43-1E7EE30F2A13}"/>
              </a:ext>
            </a:extLst>
          </p:cNvPr>
          <p:cNvCxnSpPr>
            <a:cxnSpLocks/>
          </p:cNvCxnSpPr>
          <p:nvPr>
            <p:custDataLst>
              <p:tags r:id="rId7"/>
            </p:custDataLst>
          </p:nvPr>
        </p:nvCxnSpPr>
        <p:spPr bwMode="auto">
          <a:xfrm flipV="1">
            <a:off x="2511022" y="2190413"/>
            <a:ext cx="0" cy="274042"/>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81E0D713-A3A3-C237-E8EA-215A14521F15}"/>
              </a:ext>
            </a:extLst>
          </p:cNvPr>
          <p:cNvCxnSpPr>
            <a:cxnSpLocks/>
          </p:cNvCxnSpPr>
          <p:nvPr>
            <p:custDataLst>
              <p:tags r:id="rId8"/>
            </p:custDataLst>
          </p:nvPr>
        </p:nvCxnSpPr>
        <p:spPr bwMode="auto">
          <a:xfrm>
            <a:off x="3147286" y="2190413"/>
            <a:ext cx="0" cy="393057"/>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6" name="Oval 55">
            <a:extLst>
              <a:ext uri="{FF2B5EF4-FFF2-40B4-BE49-F238E27FC236}">
                <a16:creationId xmlns:a16="http://schemas.microsoft.com/office/drawing/2014/main" id="{9EE75605-E5D7-B5B4-78A8-84958983980C}"/>
              </a:ext>
            </a:extLst>
          </p:cNvPr>
          <p:cNvSpPr/>
          <p:nvPr>
            <p:custDataLst>
              <p:tags r:id="rId9"/>
            </p:custDataLst>
          </p:nvPr>
        </p:nvSpPr>
        <p:spPr bwMode="auto">
          <a:xfrm>
            <a:off x="2500862" y="2016657"/>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7%</a:t>
            </a:r>
            <a:endParaRPr lang="en-US" sz="1400" b="1" dirty="0">
              <a:solidFill>
                <a:schemeClr val="tx1"/>
              </a:solidFill>
              <a:sym typeface="+mn-lt"/>
            </a:endParaRPr>
          </a:p>
        </p:txBody>
      </p:sp>
      <p:cxnSp>
        <p:nvCxnSpPr>
          <p:cNvPr id="57" name="Straight Connector 56">
            <a:extLst>
              <a:ext uri="{FF2B5EF4-FFF2-40B4-BE49-F238E27FC236}">
                <a16:creationId xmlns:a16="http://schemas.microsoft.com/office/drawing/2014/main" id="{80603BB5-46B4-2CDA-3A23-8235BE246357}"/>
              </a:ext>
            </a:extLst>
          </p:cNvPr>
          <p:cNvCxnSpPr>
            <a:cxnSpLocks/>
          </p:cNvCxnSpPr>
          <p:nvPr>
            <p:custDataLst>
              <p:tags r:id="rId10"/>
            </p:custDataLst>
          </p:nvPr>
        </p:nvCxnSpPr>
        <p:spPr bwMode="auto">
          <a:xfrm flipV="1">
            <a:off x="3656507" y="2358393"/>
            <a:ext cx="0" cy="17293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8" name="Straight Connector 57">
            <a:extLst>
              <a:ext uri="{FF2B5EF4-FFF2-40B4-BE49-F238E27FC236}">
                <a16:creationId xmlns:a16="http://schemas.microsoft.com/office/drawing/2014/main" id="{06AA0FA3-E716-A7BF-BE4F-5B69A3899816}"/>
              </a:ext>
            </a:extLst>
          </p:cNvPr>
          <p:cNvCxnSpPr>
            <a:cxnSpLocks/>
          </p:cNvCxnSpPr>
          <p:nvPr>
            <p:custDataLst>
              <p:tags r:id="rId11"/>
            </p:custDataLst>
          </p:nvPr>
        </p:nvCxnSpPr>
        <p:spPr bwMode="auto">
          <a:xfrm>
            <a:off x="4292337" y="2307159"/>
            <a:ext cx="0" cy="22990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59" name="Oval 58">
            <a:extLst>
              <a:ext uri="{FF2B5EF4-FFF2-40B4-BE49-F238E27FC236}">
                <a16:creationId xmlns:a16="http://schemas.microsoft.com/office/drawing/2014/main" id="{730B205D-BC26-4AF5-F17D-B9BC046C0ACC}"/>
              </a:ext>
            </a:extLst>
          </p:cNvPr>
          <p:cNvSpPr/>
          <p:nvPr>
            <p:custDataLst>
              <p:tags r:id="rId12"/>
            </p:custDataLst>
          </p:nvPr>
        </p:nvSpPr>
        <p:spPr bwMode="auto">
          <a:xfrm>
            <a:off x="3643049" y="2135143"/>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17%</a:t>
            </a:r>
            <a:endParaRPr lang="en-US" sz="1400" b="1" dirty="0">
              <a:solidFill>
                <a:schemeClr val="tx1"/>
              </a:solidFill>
              <a:sym typeface="+mn-lt"/>
            </a:endParaRPr>
          </a:p>
        </p:txBody>
      </p:sp>
      <p:cxnSp>
        <p:nvCxnSpPr>
          <p:cNvPr id="60" name="Straight Connector 59">
            <a:extLst>
              <a:ext uri="{FF2B5EF4-FFF2-40B4-BE49-F238E27FC236}">
                <a16:creationId xmlns:a16="http://schemas.microsoft.com/office/drawing/2014/main" id="{3EEF9D0C-D82C-4A3A-0441-FE6EFC5EAE43}"/>
              </a:ext>
            </a:extLst>
          </p:cNvPr>
          <p:cNvCxnSpPr>
            <a:cxnSpLocks/>
          </p:cNvCxnSpPr>
          <p:nvPr>
            <p:custDataLst>
              <p:tags r:id="rId13"/>
            </p:custDataLst>
          </p:nvPr>
        </p:nvCxnSpPr>
        <p:spPr bwMode="auto">
          <a:xfrm flipV="1">
            <a:off x="4751904" y="2315748"/>
            <a:ext cx="0" cy="267722"/>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3" name="Straight Connector 62">
            <a:extLst>
              <a:ext uri="{FF2B5EF4-FFF2-40B4-BE49-F238E27FC236}">
                <a16:creationId xmlns:a16="http://schemas.microsoft.com/office/drawing/2014/main" id="{465C5226-6397-25FE-563C-F3C875D8E7C4}"/>
              </a:ext>
            </a:extLst>
          </p:cNvPr>
          <p:cNvCxnSpPr>
            <a:cxnSpLocks/>
          </p:cNvCxnSpPr>
          <p:nvPr>
            <p:custDataLst>
              <p:tags r:id="rId14"/>
            </p:custDataLst>
          </p:nvPr>
        </p:nvCxnSpPr>
        <p:spPr bwMode="auto">
          <a:xfrm flipV="1">
            <a:off x="5867053" y="2420342"/>
            <a:ext cx="0" cy="231418"/>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551FC943-FDFF-C386-0CC6-94C5EE1B80FF}"/>
              </a:ext>
            </a:extLst>
          </p:cNvPr>
          <p:cNvCxnSpPr>
            <a:cxnSpLocks/>
          </p:cNvCxnSpPr>
          <p:nvPr>
            <p:custDataLst>
              <p:tags r:id="rId15"/>
            </p:custDataLst>
          </p:nvPr>
        </p:nvCxnSpPr>
        <p:spPr bwMode="auto">
          <a:xfrm>
            <a:off x="6502883" y="2399588"/>
            <a:ext cx="0" cy="22990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67" name="Oval 66">
            <a:extLst>
              <a:ext uri="{FF2B5EF4-FFF2-40B4-BE49-F238E27FC236}">
                <a16:creationId xmlns:a16="http://schemas.microsoft.com/office/drawing/2014/main" id="{7BFAC8FF-17DC-D75A-CA2E-53506EBF12B4}"/>
              </a:ext>
            </a:extLst>
          </p:cNvPr>
          <p:cNvSpPr/>
          <p:nvPr>
            <p:custDataLst>
              <p:tags r:id="rId16"/>
            </p:custDataLst>
          </p:nvPr>
        </p:nvSpPr>
        <p:spPr bwMode="auto">
          <a:xfrm>
            <a:off x="5853595" y="2227572"/>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30%</a:t>
            </a:r>
            <a:endParaRPr lang="en-US" sz="1400" b="1" dirty="0">
              <a:solidFill>
                <a:schemeClr val="tx1"/>
              </a:solidFill>
              <a:sym typeface="+mn-lt"/>
            </a:endParaRPr>
          </a:p>
        </p:txBody>
      </p:sp>
      <p:cxnSp>
        <p:nvCxnSpPr>
          <p:cNvPr id="68" name="Straight Connector 67">
            <a:extLst>
              <a:ext uri="{FF2B5EF4-FFF2-40B4-BE49-F238E27FC236}">
                <a16:creationId xmlns:a16="http://schemas.microsoft.com/office/drawing/2014/main" id="{D279E0E4-EAD7-1BE6-311D-19A5B8A26142}"/>
              </a:ext>
            </a:extLst>
          </p:cNvPr>
          <p:cNvCxnSpPr>
            <a:cxnSpLocks/>
          </p:cNvCxnSpPr>
          <p:nvPr>
            <p:custDataLst>
              <p:tags r:id="rId17"/>
            </p:custDataLst>
          </p:nvPr>
        </p:nvCxnSpPr>
        <p:spPr bwMode="auto">
          <a:xfrm flipV="1">
            <a:off x="6989483" y="2395442"/>
            <a:ext cx="0" cy="235998"/>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6A3749FC-569F-545E-4C28-C3D35D478044}"/>
              </a:ext>
            </a:extLst>
          </p:cNvPr>
          <p:cNvCxnSpPr>
            <a:cxnSpLocks/>
          </p:cNvCxnSpPr>
          <p:nvPr>
            <p:custDataLst>
              <p:tags r:id="rId18"/>
            </p:custDataLst>
          </p:nvPr>
        </p:nvCxnSpPr>
        <p:spPr bwMode="auto">
          <a:xfrm>
            <a:off x="7615153" y="2395008"/>
            <a:ext cx="0" cy="229903"/>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0" name="Oval 69">
            <a:extLst>
              <a:ext uri="{FF2B5EF4-FFF2-40B4-BE49-F238E27FC236}">
                <a16:creationId xmlns:a16="http://schemas.microsoft.com/office/drawing/2014/main" id="{5070FCEC-467E-F71B-FA2E-176F95E7D7F0}"/>
              </a:ext>
            </a:extLst>
          </p:cNvPr>
          <p:cNvSpPr/>
          <p:nvPr>
            <p:custDataLst>
              <p:tags r:id="rId19"/>
            </p:custDataLst>
          </p:nvPr>
        </p:nvSpPr>
        <p:spPr bwMode="auto">
          <a:xfrm>
            <a:off x="6965865" y="2222992"/>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43%</a:t>
            </a:r>
            <a:endParaRPr lang="en-US" sz="1400" b="1" dirty="0">
              <a:solidFill>
                <a:schemeClr val="tx1"/>
              </a:solidFill>
              <a:sym typeface="+mn-lt"/>
            </a:endParaRPr>
          </a:p>
        </p:txBody>
      </p:sp>
      <p:cxnSp>
        <p:nvCxnSpPr>
          <p:cNvPr id="71" name="Straight Connector 70">
            <a:extLst>
              <a:ext uri="{FF2B5EF4-FFF2-40B4-BE49-F238E27FC236}">
                <a16:creationId xmlns:a16="http://schemas.microsoft.com/office/drawing/2014/main" id="{840A5B52-34A7-5F5C-E788-E5080DB13575}"/>
              </a:ext>
            </a:extLst>
          </p:cNvPr>
          <p:cNvCxnSpPr>
            <a:cxnSpLocks/>
          </p:cNvCxnSpPr>
          <p:nvPr>
            <p:custDataLst>
              <p:tags r:id="rId20"/>
            </p:custDataLst>
          </p:nvPr>
        </p:nvCxnSpPr>
        <p:spPr bwMode="auto">
          <a:xfrm flipV="1">
            <a:off x="392351" y="5214578"/>
            <a:ext cx="0" cy="252275"/>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3" name="Oval 72">
            <a:extLst>
              <a:ext uri="{FF2B5EF4-FFF2-40B4-BE49-F238E27FC236}">
                <a16:creationId xmlns:a16="http://schemas.microsoft.com/office/drawing/2014/main" id="{6E87CFEF-758C-2AA5-2BAF-6A0F89976FB0}"/>
              </a:ext>
            </a:extLst>
          </p:cNvPr>
          <p:cNvSpPr/>
          <p:nvPr>
            <p:custDataLst>
              <p:tags r:id="rId21"/>
            </p:custDataLst>
          </p:nvPr>
        </p:nvSpPr>
        <p:spPr bwMode="auto">
          <a:xfrm>
            <a:off x="392351" y="5016439"/>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0%</a:t>
            </a:r>
            <a:endParaRPr lang="en-US" sz="1400" b="1" dirty="0">
              <a:solidFill>
                <a:schemeClr val="tx1"/>
              </a:solidFill>
              <a:sym typeface="+mn-lt"/>
            </a:endParaRPr>
          </a:p>
        </p:txBody>
      </p:sp>
      <p:cxnSp>
        <p:nvCxnSpPr>
          <p:cNvPr id="74" name="Straight Connector 73">
            <a:extLst>
              <a:ext uri="{FF2B5EF4-FFF2-40B4-BE49-F238E27FC236}">
                <a16:creationId xmlns:a16="http://schemas.microsoft.com/office/drawing/2014/main" id="{2ACB61CC-F7F0-DD1C-3C7F-3202E3989738}"/>
              </a:ext>
            </a:extLst>
          </p:cNvPr>
          <p:cNvCxnSpPr>
            <a:cxnSpLocks/>
          </p:cNvCxnSpPr>
          <p:nvPr>
            <p:custDataLst>
              <p:tags r:id="rId22"/>
            </p:custDataLst>
          </p:nvPr>
        </p:nvCxnSpPr>
        <p:spPr bwMode="auto">
          <a:xfrm flipV="1">
            <a:off x="1651778" y="5257309"/>
            <a:ext cx="0" cy="20303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76" name="Oval 75">
            <a:extLst>
              <a:ext uri="{FF2B5EF4-FFF2-40B4-BE49-F238E27FC236}">
                <a16:creationId xmlns:a16="http://schemas.microsoft.com/office/drawing/2014/main" id="{B1683388-F848-B0AF-B3BE-C7414D8844F4}"/>
              </a:ext>
            </a:extLst>
          </p:cNvPr>
          <p:cNvSpPr/>
          <p:nvPr>
            <p:custDataLst>
              <p:tags r:id="rId23"/>
            </p:custDataLst>
          </p:nvPr>
        </p:nvSpPr>
        <p:spPr bwMode="auto">
          <a:xfrm>
            <a:off x="1651778" y="5059170"/>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4%</a:t>
            </a:r>
            <a:endParaRPr lang="en-US" sz="1400" b="1" dirty="0">
              <a:solidFill>
                <a:schemeClr val="tx1"/>
              </a:solidFill>
              <a:sym typeface="+mn-lt"/>
            </a:endParaRPr>
          </a:p>
        </p:txBody>
      </p:sp>
      <p:cxnSp>
        <p:nvCxnSpPr>
          <p:cNvPr id="78" name="Straight Connector 77">
            <a:extLst>
              <a:ext uri="{FF2B5EF4-FFF2-40B4-BE49-F238E27FC236}">
                <a16:creationId xmlns:a16="http://schemas.microsoft.com/office/drawing/2014/main" id="{124BBFE4-E439-8B3C-710C-429357945D76}"/>
              </a:ext>
            </a:extLst>
          </p:cNvPr>
          <p:cNvCxnSpPr>
            <a:cxnSpLocks/>
          </p:cNvCxnSpPr>
          <p:nvPr>
            <p:custDataLst>
              <p:tags r:id="rId24"/>
            </p:custDataLst>
          </p:nvPr>
        </p:nvCxnSpPr>
        <p:spPr bwMode="auto">
          <a:xfrm flipV="1">
            <a:off x="2994312" y="5196349"/>
            <a:ext cx="0" cy="263990"/>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C0BFC3B4-B01E-3329-F4E2-50BEF095EA31}"/>
              </a:ext>
            </a:extLst>
          </p:cNvPr>
          <p:cNvCxnSpPr>
            <a:cxnSpLocks/>
          </p:cNvCxnSpPr>
          <p:nvPr>
            <p:custDataLst>
              <p:tags r:id="rId25"/>
            </p:custDataLst>
          </p:nvPr>
        </p:nvCxnSpPr>
        <p:spPr bwMode="auto">
          <a:xfrm>
            <a:off x="3640736" y="5186189"/>
            <a:ext cx="0" cy="274150"/>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0" name="Oval 79">
            <a:extLst>
              <a:ext uri="{FF2B5EF4-FFF2-40B4-BE49-F238E27FC236}">
                <a16:creationId xmlns:a16="http://schemas.microsoft.com/office/drawing/2014/main" id="{3769E02A-6867-2832-CF96-C0B613E0C418}"/>
              </a:ext>
            </a:extLst>
          </p:cNvPr>
          <p:cNvSpPr/>
          <p:nvPr>
            <p:custDataLst>
              <p:tags r:id="rId26"/>
            </p:custDataLst>
          </p:nvPr>
        </p:nvSpPr>
        <p:spPr bwMode="auto">
          <a:xfrm>
            <a:off x="2994312" y="5022593"/>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3%</a:t>
            </a:r>
            <a:endParaRPr lang="en-US" sz="1400" b="1" dirty="0">
              <a:solidFill>
                <a:schemeClr val="tx1"/>
              </a:solidFill>
              <a:sym typeface="+mn-lt"/>
            </a:endParaRPr>
          </a:p>
        </p:txBody>
      </p:sp>
      <p:cxnSp>
        <p:nvCxnSpPr>
          <p:cNvPr id="81" name="Straight Connector 80">
            <a:extLst>
              <a:ext uri="{FF2B5EF4-FFF2-40B4-BE49-F238E27FC236}">
                <a16:creationId xmlns:a16="http://schemas.microsoft.com/office/drawing/2014/main" id="{E068FF75-5FFA-2EFA-DD2E-A0E73AB4A865}"/>
              </a:ext>
            </a:extLst>
          </p:cNvPr>
          <p:cNvCxnSpPr>
            <a:cxnSpLocks/>
          </p:cNvCxnSpPr>
          <p:nvPr>
            <p:custDataLst>
              <p:tags r:id="rId27"/>
            </p:custDataLst>
          </p:nvPr>
        </p:nvCxnSpPr>
        <p:spPr bwMode="auto">
          <a:xfrm flipV="1">
            <a:off x="4261857" y="4912677"/>
            <a:ext cx="0" cy="298893"/>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9B8BA1B0-3DA8-D927-0FF1-817786C0DCB5}"/>
              </a:ext>
            </a:extLst>
          </p:cNvPr>
          <p:cNvCxnSpPr>
            <a:cxnSpLocks/>
          </p:cNvCxnSpPr>
          <p:nvPr>
            <p:custDataLst>
              <p:tags r:id="rId28"/>
            </p:custDataLst>
          </p:nvPr>
        </p:nvCxnSpPr>
        <p:spPr bwMode="auto">
          <a:xfrm>
            <a:off x="4908281" y="4902517"/>
            <a:ext cx="0" cy="410364"/>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3" name="Oval 82">
            <a:extLst>
              <a:ext uri="{FF2B5EF4-FFF2-40B4-BE49-F238E27FC236}">
                <a16:creationId xmlns:a16="http://schemas.microsoft.com/office/drawing/2014/main" id="{62ADA9DA-ADF2-E7FA-DD97-1AA7C3747402}"/>
              </a:ext>
            </a:extLst>
          </p:cNvPr>
          <p:cNvSpPr/>
          <p:nvPr>
            <p:custDataLst>
              <p:tags r:id="rId29"/>
            </p:custDataLst>
          </p:nvPr>
        </p:nvSpPr>
        <p:spPr bwMode="auto">
          <a:xfrm>
            <a:off x="4261857" y="4738921"/>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3%</a:t>
            </a:r>
            <a:endParaRPr lang="en-US" sz="1400" b="1" dirty="0">
              <a:solidFill>
                <a:schemeClr val="tx1"/>
              </a:solidFill>
              <a:sym typeface="+mn-lt"/>
            </a:endParaRPr>
          </a:p>
        </p:txBody>
      </p:sp>
      <p:cxnSp>
        <p:nvCxnSpPr>
          <p:cNvPr id="84" name="Straight Connector 83">
            <a:extLst>
              <a:ext uri="{FF2B5EF4-FFF2-40B4-BE49-F238E27FC236}">
                <a16:creationId xmlns:a16="http://schemas.microsoft.com/office/drawing/2014/main" id="{1C06F518-286D-C958-D546-4ABB337BA8B6}"/>
              </a:ext>
            </a:extLst>
          </p:cNvPr>
          <p:cNvCxnSpPr>
            <a:cxnSpLocks/>
          </p:cNvCxnSpPr>
          <p:nvPr>
            <p:custDataLst>
              <p:tags r:id="rId30"/>
            </p:custDataLst>
          </p:nvPr>
        </p:nvCxnSpPr>
        <p:spPr bwMode="auto">
          <a:xfrm flipV="1">
            <a:off x="5537639" y="4332176"/>
            <a:ext cx="0" cy="570341"/>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83DADEC9-7A44-EC82-1BFE-5A30550F325C}"/>
              </a:ext>
            </a:extLst>
          </p:cNvPr>
          <p:cNvCxnSpPr>
            <a:cxnSpLocks/>
          </p:cNvCxnSpPr>
          <p:nvPr>
            <p:custDataLst>
              <p:tags r:id="rId31"/>
            </p:custDataLst>
          </p:nvPr>
        </p:nvCxnSpPr>
        <p:spPr bwMode="auto">
          <a:xfrm>
            <a:off x="6173903" y="4332176"/>
            <a:ext cx="0" cy="239824"/>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6" name="Oval 85">
            <a:extLst>
              <a:ext uri="{FF2B5EF4-FFF2-40B4-BE49-F238E27FC236}">
                <a16:creationId xmlns:a16="http://schemas.microsoft.com/office/drawing/2014/main" id="{2489D481-7EEC-FAC6-060A-777FBECCE478}"/>
              </a:ext>
            </a:extLst>
          </p:cNvPr>
          <p:cNvSpPr/>
          <p:nvPr>
            <p:custDataLst>
              <p:tags r:id="rId32"/>
            </p:custDataLst>
          </p:nvPr>
        </p:nvSpPr>
        <p:spPr bwMode="auto">
          <a:xfrm>
            <a:off x="5537639" y="4158420"/>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51%</a:t>
            </a:r>
            <a:endParaRPr lang="en-US" sz="1400" b="1" dirty="0">
              <a:solidFill>
                <a:schemeClr val="tx1"/>
              </a:solidFill>
              <a:sym typeface="+mn-lt"/>
            </a:endParaRPr>
          </a:p>
        </p:txBody>
      </p:sp>
      <p:cxnSp>
        <p:nvCxnSpPr>
          <p:cNvPr id="87" name="Straight Connector 86">
            <a:extLst>
              <a:ext uri="{FF2B5EF4-FFF2-40B4-BE49-F238E27FC236}">
                <a16:creationId xmlns:a16="http://schemas.microsoft.com/office/drawing/2014/main" id="{A87A1008-1A45-D240-E1CE-A62CEC31283E}"/>
              </a:ext>
            </a:extLst>
          </p:cNvPr>
          <p:cNvCxnSpPr>
            <a:cxnSpLocks/>
          </p:cNvCxnSpPr>
          <p:nvPr>
            <p:custDataLst>
              <p:tags r:id="rId33"/>
            </p:custDataLst>
          </p:nvPr>
        </p:nvCxnSpPr>
        <p:spPr bwMode="auto">
          <a:xfrm flipV="1">
            <a:off x="6885098" y="3636404"/>
            <a:ext cx="0" cy="522016"/>
          </a:xfrm>
          <a:prstGeom prst="line">
            <a:avLst/>
          </a:prstGeom>
          <a:ln w="12700" cap="flat" cmpd="sng" algn="ctr">
            <a:solidFill>
              <a:schemeClr val="tx1"/>
            </a:solidFill>
            <a:prstDash val="solid"/>
            <a:miter lim="800000"/>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69990A44-891E-3D4E-49AC-0392309C46CA}"/>
              </a:ext>
            </a:extLst>
          </p:cNvPr>
          <p:cNvCxnSpPr>
            <a:cxnSpLocks/>
          </p:cNvCxnSpPr>
          <p:nvPr>
            <p:custDataLst>
              <p:tags r:id="rId34"/>
            </p:custDataLst>
          </p:nvPr>
        </p:nvCxnSpPr>
        <p:spPr bwMode="auto">
          <a:xfrm>
            <a:off x="7531522" y="3605924"/>
            <a:ext cx="0" cy="356476"/>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89" name="Oval 88">
            <a:extLst>
              <a:ext uri="{FF2B5EF4-FFF2-40B4-BE49-F238E27FC236}">
                <a16:creationId xmlns:a16="http://schemas.microsoft.com/office/drawing/2014/main" id="{56723B93-107A-B160-C480-F437CFF1A216}"/>
              </a:ext>
            </a:extLst>
          </p:cNvPr>
          <p:cNvSpPr/>
          <p:nvPr>
            <p:custDataLst>
              <p:tags r:id="rId35"/>
            </p:custDataLst>
          </p:nvPr>
        </p:nvSpPr>
        <p:spPr bwMode="auto">
          <a:xfrm>
            <a:off x="6885098" y="3462648"/>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20%</a:t>
            </a:r>
            <a:endParaRPr lang="en-US" sz="1400" b="1" dirty="0">
              <a:solidFill>
                <a:schemeClr val="tx1"/>
              </a:solidFill>
              <a:sym typeface="+mn-lt"/>
            </a:endParaRPr>
          </a:p>
        </p:txBody>
      </p:sp>
      <p:cxnSp>
        <p:nvCxnSpPr>
          <p:cNvPr id="90" name="Straight Connector 89">
            <a:extLst>
              <a:ext uri="{FF2B5EF4-FFF2-40B4-BE49-F238E27FC236}">
                <a16:creationId xmlns:a16="http://schemas.microsoft.com/office/drawing/2014/main" id="{18395BD7-ADDD-A666-74D0-88BDF11A0A46}"/>
              </a:ext>
            </a:extLst>
          </p:cNvPr>
          <p:cNvCxnSpPr>
            <a:cxnSpLocks/>
          </p:cNvCxnSpPr>
          <p:nvPr>
            <p:custDataLst>
              <p:tags r:id="rId36"/>
            </p:custDataLst>
          </p:nvPr>
        </p:nvCxnSpPr>
        <p:spPr bwMode="auto">
          <a:xfrm>
            <a:off x="5388361" y="2301420"/>
            <a:ext cx="0" cy="380820"/>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91" name="Oval 90">
            <a:extLst>
              <a:ext uri="{FF2B5EF4-FFF2-40B4-BE49-F238E27FC236}">
                <a16:creationId xmlns:a16="http://schemas.microsoft.com/office/drawing/2014/main" id="{84278636-2DED-4A2B-8060-44E57090A565}"/>
              </a:ext>
            </a:extLst>
          </p:cNvPr>
          <p:cNvSpPr/>
          <p:nvPr>
            <p:custDataLst>
              <p:tags r:id="rId37"/>
            </p:custDataLst>
          </p:nvPr>
        </p:nvSpPr>
        <p:spPr bwMode="auto">
          <a:xfrm>
            <a:off x="4739073" y="2129404"/>
            <a:ext cx="649288" cy="301625"/>
          </a:xfrm>
          <a:prstGeom prst="ellipse">
            <a:avLst/>
          </a:prstGeom>
          <a:solidFill>
            <a:schemeClr val="bg1"/>
          </a:solidFill>
          <a:ln w="9525" cap="flat" cmpd="sng" algn="ctr">
            <a:solidFill>
              <a:schemeClr val="tx1"/>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spcBef>
                <a:spcPct val="0"/>
              </a:spcBef>
              <a:spcAft>
                <a:spcPct val="0"/>
              </a:spcAft>
            </a:pPr>
            <a:r>
              <a:rPr lang="en-US" altLang="en-US" sz="1400" b="1" dirty="0">
                <a:solidFill>
                  <a:schemeClr val="tx1"/>
                </a:solidFill>
              </a:rPr>
              <a:t>-8%</a:t>
            </a:r>
            <a:endParaRPr lang="en-US" sz="1400" b="1" dirty="0">
              <a:solidFill>
                <a:schemeClr val="tx1"/>
              </a:solidFill>
              <a:sym typeface="+mn-lt"/>
            </a:endParaRPr>
          </a:p>
        </p:txBody>
      </p:sp>
      <p:cxnSp>
        <p:nvCxnSpPr>
          <p:cNvPr id="61" name="Straight Connector 60">
            <a:extLst>
              <a:ext uri="{FF2B5EF4-FFF2-40B4-BE49-F238E27FC236}">
                <a16:creationId xmlns:a16="http://schemas.microsoft.com/office/drawing/2014/main" id="{34031D5C-501A-2C98-E41E-EC8794D437CD}"/>
              </a:ext>
            </a:extLst>
          </p:cNvPr>
          <p:cNvCxnSpPr>
            <a:cxnSpLocks/>
          </p:cNvCxnSpPr>
          <p:nvPr>
            <p:custDataLst>
              <p:tags r:id="rId38"/>
            </p:custDataLst>
          </p:nvPr>
        </p:nvCxnSpPr>
        <p:spPr bwMode="auto">
          <a:xfrm>
            <a:off x="1042501" y="5170641"/>
            <a:ext cx="0" cy="25921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1F893B5A-9B2B-6F05-F511-BB04918CEE80}"/>
              </a:ext>
            </a:extLst>
          </p:cNvPr>
          <p:cNvCxnSpPr>
            <a:cxnSpLocks/>
          </p:cNvCxnSpPr>
          <p:nvPr>
            <p:custDataLst>
              <p:tags r:id="rId39"/>
            </p:custDataLst>
          </p:nvPr>
        </p:nvCxnSpPr>
        <p:spPr bwMode="auto">
          <a:xfrm>
            <a:off x="2302341" y="5201121"/>
            <a:ext cx="0" cy="259218"/>
          </a:xfrm>
          <a:prstGeom prst="line">
            <a:avLst/>
          </a:prstGeom>
          <a:ln w="12700" cap="flat" cmpd="sng" algn="ctr">
            <a:solidFill>
              <a:schemeClr val="tx1"/>
            </a:solidFill>
            <a:prstDash val="solid"/>
            <a:miter lim="800000"/>
            <a:headEnd type="none" w="med" len="med"/>
            <a:tailEnd type="triangl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158420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93122775-E9AA-492A-BB00-202910A07EAB}"/>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3" name="think-cell Slide" r:id="rId5" imgW="520" imgH="520" progId="TCLayout.ActiveDocument.1">
                  <p:embed/>
                </p:oleObj>
              </mc:Choice>
              <mc:Fallback>
                <p:oleObj name="think-cell Slide" r:id="rId5" imgW="520" imgH="520" progId="TCLayout.ActiveDocument.1">
                  <p:embed/>
                  <p:pic>
                    <p:nvPicPr>
                      <p:cNvPr id="6" name="Object 5" hidden="1">
                        <a:extLst>
                          <a:ext uri="{FF2B5EF4-FFF2-40B4-BE49-F238E27FC236}">
                            <a16:creationId xmlns:a16="http://schemas.microsoft.com/office/drawing/2014/main" id="{93122775-E9AA-492A-BB00-202910A07E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D3C8790B-A8EA-490B-BC43-8B5A2F36088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pic>
        <p:nvPicPr>
          <p:cNvPr id="12" name="Picture 8" descr="http://vinhfoods.com/wp-content/uploads/2016/03/Vinh-Foods_premium-pangasius-top.jpg">
            <a:extLst>
              <a:ext uri="{FF2B5EF4-FFF2-40B4-BE49-F238E27FC236}">
                <a16:creationId xmlns:a16="http://schemas.microsoft.com/office/drawing/2014/main" id="{D1A1238E-76F4-49A5-8E3F-C8B948365F48}"/>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13238" b="13238"/>
          <a:stretch/>
        </p:blipFill>
        <p:spPr bwMode="auto">
          <a:xfrm>
            <a:off x="3176" y="0"/>
            <a:ext cx="12193200" cy="5963588"/>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a:extLst>
              <a:ext uri="{FF2B5EF4-FFF2-40B4-BE49-F238E27FC236}">
                <a16:creationId xmlns:a16="http://schemas.microsoft.com/office/drawing/2014/main" id="{CE94E848-C6AC-4868-B4AE-BE8831693AC9}"/>
              </a:ext>
            </a:extLst>
          </p:cNvPr>
          <p:cNvSpPr>
            <a:spLocks noGrp="1"/>
          </p:cNvSpPr>
          <p:nvPr>
            <p:ph type="sldNum" sz="quarter" idx="4"/>
          </p:nvPr>
        </p:nvSpPr>
        <p:spPr>
          <a:prstGeom prst="rect">
            <a:avLst/>
          </a:prstGeom>
        </p:spPr>
        <p:txBody>
          <a:bodyPr/>
          <a:lstStyle/>
          <a:p>
            <a:fld id="{DB744C55-FBB5-4EC4-A7FE-B77A2493A9E5}" type="slidenum">
              <a:rPr lang="en-US" smtClean="0"/>
              <a:pPr/>
              <a:t>7</a:t>
            </a:fld>
            <a:endParaRPr lang="en-US"/>
          </a:p>
        </p:txBody>
      </p:sp>
      <p:sp>
        <p:nvSpPr>
          <p:cNvPr id="18" name="Rectangle">
            <a:extLst>
              <a:ext uri="{FF2B5EF4-FFF2-40B4-BE49-F238E27FC236}">
                <a16:creationId xmlns:a16="http://schemas.microsoft.com/office/drawing/2014/main" id="{50CA81C0-1C11-452C-B4DA-F38CDA7F32CE}"/>
              </a:ext>
            </a:extLst>
          </p:cNvPr>
          <p:cNvSpPr/>
          <p:nvPr/>
        </p:nvSpPr>
        <p:spPr>
          <a:xfrm>
            <a:off x="-3175" y="-12991"/>
            <a:ext cx="12191999" cy="5976579"/>
          </a:xfrm>
          <a:prstGeom prst="rect">
            <a:avLst/>
          </a:prstGeom>
          <a:solidFill>
            <a:srgbClr val="242C35">
              <a:alpha val="40000"/>
            </a:srgbClr>
          </a:solidFill>
          <a:ln w="12700">
            <a:miter lim="400000"/>
          </a:ln>
        </p:spPr>
        <p:txBody>
          <a:bodyPr lIns="45719" rIns="45719" anchor="ctr"/>
          <a:lstStyle/>
          <a:p>
            <a:pPr algn="ctr">
              <a:defRPr sz="2700">
                <a:solidFill>
                  <a:srgbClr val="FFFFFF"/>
                </a:solidFill>
                <a:latin typeface="+mj-lt"/>
                <a:ea typeface="+mj-ea"/>
                <a:cs typeface="+mj-cs"/>
                <a:sym typeface="Helvetica"/>
              </a:defRPr>
            </a:pPr>
            <a:endParaRPr/>
          </a:p>
        </p:txBody>
      </p:sp>
      <p:sp>
        <p:nvSpPr>
          <p:cNvPr id="11" name="Text Placeholder 1">
            <a:extLst>
              <a:ext uri="{FF2B5EF4-FFF2-40B4-BE49-F238E27FC236}">
                <a16:creationId xmlns:a16="http://schemas.microsoft.com/office/drawing/2014/main" id="{E11BFD3D-8B20-4E3B-BE41-C2D731944E37}"/>
              </a:ext>
            </a:extLst>
          </p:cNvPr>
          <p:cNvSpPr txBox="1">
            <a:spLocks/>
          </p:cNvSpPr>
          <p:nvPr/>
        </p:nvSpPr>
        <p:spPr>
          <a:xfrm>
            <a:off x="3213848" y="666004"/>
            <a:ext cx="8397754" cy="1387733"/>
          </a:xfrm>
          <a:prstGeom prst="rect">
            <a:avLst/>
          </a:prstGeom>
        </p:spPr>
        <p:txBody>
          <a:bodyPr vert="horz" lIns="91440" tIns="45720" rIns="91440" bIns="45720" numCol="1" rtlCol="0">
            <a:normAutofit/>
          </a:bodyPr>
          <a:lstStyle>
            <a:lvl1pPr marL="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1pPr>
            <a:lvl2pPr marL="1800" indent="0" algn="l" defTabSz="914400" rtl="0" eaLnBrk="1" latinLnBrk="0" hangingPunct="1">
              <a:lnSpc>
                <a:spcPts val="4600"/>
              </a:lnSpc>
              <a:spcBef>
                <a:spcPts val="0"/>
              </a:spcBef>
              <a:buFont typeface="Arial"/>
              <a:buNone/>
              <a:defRPr sz="3600" b="1" i="0" kern="1200" cap="all" baseline="0">
                <a:solidFill>
                  <a:srgbClr val="0069B9"/>
                </a:solidFill>
                <a:latin typeface="+mn-lt"/>
                <a:ea typeface="+mn-ea"/>
                <a:cs typeface="+mn-cs"/>
              </a:defRPr>
            </a:lvl2pPr>
            <a:lvl3pPr marL="684000" indent="-228600" algn="l" defTabSz="914400" rtl="0" eaLnBrk="1" latinLnBrk="0" hangingPunct="1">
              <a:lnSpc>
                <a:spcPts val="3400"/>
              </a:lnSpc>
              <a:spcBef>
                <a:spcPts val="500"/>
              </a:spcBef>
              <a:buFont typeface="Arial"/>
              <a:buChar char="•"/>
              <a:defRPr sz="2200" kern="1200">
                <a:solidFill>
                  <a:srgbClr val="41B6E6"/>
                </a:solidFill>
                <a:latin typeface="+mn-lt"/>
                <a:ea typeface="+mn-ea"/>
                <a:cs typeface="+mn-cs"/>
              </a:defRPr>
            </a:lvl3pPr>
            <a:lvl4pPr marL="11448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4pPr>
            <a:lvl5pPr marL="1598400" indent="-228600" algn="l" defTabSz="914400" rtl="0" eaLnBrk="1" latinLnBrk="0" hangingPunct="1">
              <a:lnSpc>
                <a:spcPts val="3400"/>
              </a:lnSpc>
              <a:spcBef>
                <a:spcPts val="500"/>
              </a:spcBef>
              <a:buFont typeface="Arial"/>
              <a:buChar char="•"/>
              <a:defRPr sz="1600" kern="1200">
                <a:solidFill>
                  <a:srgbClr val="41B6E6"/>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gn="r"/>
            <a:r>
              <a:rPr lang="en-US">
                <a:solidFill>
                  <a:schemeClr val="bg1"/>
                </a:solidFill>
              </a:rPr>
              <a:t>EVENT HIGHLIGHTS</a:t>
            </a:r>
          </a:p>
        </p:txBody>
      </p:sp>
    </p:spTree>
    <p:extLst>
      <p:ext uri="{BB962C8B-B14F-4D97-AF65-F5344CB8AC3E}">
        <p14:creationId xmlns:p14="http://schemas.microsoft.com/office/powerpoint/2010/main" val="29011773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0EF1A-C09F-42F2-9141-C956740DC1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7"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330EF1A-C09F-42F2-9141-C956740DC1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0BF6FF-F94C-4DEF-A02A-4484FCD25D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4"/>
          </p:nvPr>
        </p:nvSpPr>
        <p:spPr/>
        <p:txBody>
          <a:bodyPr/>
          <a:lstStyle/>
          <a:p>
            <a:fld id="{DB744C55-FBB5-4EC4-A7FE-B77A2493A9E5}" type="slidenum">
              <a:rPr lang="en-US" smtClean="0"/>
              <a:pPr/>
              <a:t>8</a:t>
            </a:fld>
            <a:endParaRPr lang="en-US"/>
          </a:p>
        </p:txBody>
      </p:sp>
      <p:sp>
        <p:nvSpPr>
          <p:cNvPr id="12" name="Title 1">
            <a:extLst>
              <a:ext uri="{FF2B5EF4-FFF2-40B4-BE49-F238E27FC236}">
                <a16:creationId xmlns:a16="http://schemas.microsoft.com/office/drawing/2014/main" id="{8F8AF071-CA62-456A-AF7D-7D60050B9001}"/>
              </a:ext>
            </a:extLst>
          </p:cNvPr>
          <p:cNvSpPr>
            <a:spLocks noGrp="1"/>
          </p:cNvSpPr>
          <p:nvPr>
            <p:ph type="title"/>
          </p:nvPr>
        </p:nvSpPr>
        <p:spPr>
          <a:xfrm>
            <a:off x="258792" y="189780"/>
            <a:ext cx="11598246" cy="1026000"/>
          </a:xfrm>
        </p:spPr>
        <p:txBody>
          <a:bodyPr/>
          <a:lstStyle/>
          <a:p>
            <a:r>
              <a:rPr lang="en-US"/>
              <a:t>EVENT HIGHLIGHTS</a:t>
            </a:r>
          </a:p>
        </p:txBody>
      </p:sp>
      <p:cxnSp>
        <p:nvCxnSpPr>
          <p:cNvPr id="15" name="Straight Connector 14">
            <a:extLst>
              <a:ext uri="{FF2B5EF4-FFF2-40B4-BE49-F238E27FC236}">
                <a16:creationId xmlns:a16="http://schemas.microsoft.com/office/drawing/2014/main" id="{3C64531C-3C3E-4B0D-A4B7-789542CA5B25}"/>
              </a:ext>
            </a:extLst>
          </p:cNvPr>
          <p:cNvCxnSpPr>
            <a:cxnSpLocks/>
          </p:cNvCxnSpPr>
          <p:nvPr/>
        </p:nvCxnSpPr>
        <p:spPr>
          <a:xfrm>
            <a:off x="258792" y="4408991"/>
            <a:ext cx="5902190"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68A175-D486-4F65-85F8-262746D32720}"/>
              </a:ext>
            </a:extLst>
          </p:cNvPr>
          <p:cNvCxnSpPr>
            <a:cxnSpLocks/>
          </p:cNvCxnSpPr>
          <p:nvPr/>
        </p:nvCxnSpPr>
        <p:spPr>
          <a:xfrm>
            <a:off x="6160982" y="812427"/>
            <a:ext cx="0" cy="57651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Rectangle: Folded Corner 42">
            <a:extLst>
              <a:ext uri="{FF2B5EF4-FFF2-40B4-BE49-F238E27FC236}">
                <a16:creationId xmlns:a16="http://schemas.microsoft.com/office/drawing/2014/main" id="{B77A828B-ADC2-4456-B519-DCB7FD02DA3A}"/>
              </a:ext>
            </a:extLst>
          </p:cNvPr>
          <p:cNvSpPr/>
          <p:nvPr/>
        </p:nvSpPr>
        <p:spPr>
          <a:xfrm>
            <a:off x="1239544" y="4544766"/>
            <a:ext cx="4682905" cy="1579747"/>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algn="just" fontAlgn="base">
              <a:lnSpc>
                <a:spcPct val="150000"/>
              </a:lnSpc>
            </a:pPr>
            <a:r>
              <a:rPr lang="en-US" sz="1600" dirty="0">
                <a:solidFill>
                  <a:srgbClr val="727073"/>
                </a:solidFill>
                <a:latin typeface="Arial (headings)"/>
              </a:rPr>
              <a:t>On April 20, 2022, Vinh Hoan Corporation (VHC) held its Annual Shareholders Meeting at GEM Center</a:t>
            </a:r>
          </a:p>
          <a:p>
            <a:pPr algn="ctr" fontAlgn="base">
              <a:lnSpc>
                <a:spcPct val="150000"/>
              </a:lnSpc>
            </a:pPr>
            <a:r>
              <a:rPr lang="en-US" sz="1400" i="1" dirty="0">
                <a:solidFill>
                  <a:srgbClr val="727073"/>
                </a:solidFill>
                <a:latin typeface="Arial (headings)"/>
              </a:rPr>
              <a:t>Apr 2022, Vietnam</a:t>
            </a:r>
          </a:p>
        </p:txBody>
      </p:sp>
      <p:pic>
        <p:nvPicPr>
          <p:cNvPr id="6" name="Picture 5">
            <a:extLst>
              <a:ext uri="{FF2B5EF4-FFF2-40B4-BE49-F238E27FC236}">
                <a16:creationId xmlns:a16="http://schemas.microsoft.com/office/drawing/2014/main" id="{BAB89963-80A2-8280-39F3-AEDFB7A92C03}"/>
              </a:ext>
            </a:extLst>
          </p:cNvPr>
          <p:cNvPicPr>
            <a:picLocks noChangeAspect="1"/>
          </p:cNvPicPr>
          <p:nvPr/>
        </p:nvPicPr>
        <p:blipFill>
          <a:blip r:embed="rId8"/>
          <a:stretch>
            <a:fillRect/>
          </a:stretch>
        </p:blipFill>
        <p:spPr>
          <a:xfrm>
            <a:off x="648682" y="927651"/>
            <a:ext cx="5310884" cy="3345561"/>
          </a:xfrm>
          <a:prstGeom prst="rect">
            <a:avLst/>
          </a:prstGeom>
        </p:spPr>
      </p:pic>
      <p:pic>
        <p:nvPicPr>
          <p:cNvPr id="8" name="Picture 7">
            <a:extLst>
              <a:ext uri="{FF2B5EF4-FFF2-40B4-BE49-F238E27FC236}">
                <a16:creationId xmlns:a16="http://schemas.microsoft.com/office/drawing/2014/main" id="{8D497D28-11BE-BC78-79F9-7739165B36E2}"/>
              </a:ext>
            </a:extLst>
          </p:cNvPr>
          <p:cNvPicPr>
            <a:picLocks noChangeAspect="1"/>
          </p:cNvPicPr>
          <p:nvPr/>
        </p:nvPicPr>
        <p:blipFill>
          <a:blip r:embed="rId9"/>
          <a:stretch>
            <a:fillRect/>
          </a:stretch>
        </p:blipFill>
        <p:spPr>
          <a:xfrm>
            <a:off x="6468183" y="1029203"/>
            <a:ext cx="5075135" cy="5095310"/>
          </a:xfrm>
          <a:prstGeom prst="rect">
            <a:avLst/>
          </a:prstGeom>
        </p:spPr>
      </p:pic>
    </p:spTree>
    <p:extLst>
      <p:ext uri="{BB962C8B-B14F-4D97-AF65-F5344CB8AC3E}">
        <p14:creationId xmlns:p14="http://schemas.microsoft.com/office/powerpoint/2010/main" val="37062973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330EF1A-C09F-42F2-9141-C956740DC1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1" name="think-cell Slide" r:id="rId6" imgW="360" imgH="360" progId="TCLayout.ActiveDocument.1">
                  <p:embed/>
                </p:oleObj>
              </mc:Choice>
              <mc:Fallback>
                <p:oleObj name="think-cell Slide" r:id="rId6" imgW="360" imgH="360" progId="TCLayout.ActiveDocument.1">
                  <p:embed/>
                  <p:pic>
                    <p:nvPicPr>
                      <p:cNvPr id="4" name="Object 3" hidden="1">
                        <a:extLst>
                          <a:ext uri="{FF2B5EF4-FFF2-40B4-BE49-F238E27FC236}">
                            <a16:creationId xmlns:a16="http://schemas.microsoft.com/office/drawing/2014/main" id="{5330EF1A-C09F-42F2-9141-C956740DC1A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0BF6FF-F94C-4DEF-A02A-4484FCD25D81}"/>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en-HK" sz="2800" b="1">
              <a:latin typeface="Arial" panose="020B0604020202020204" pitchFamily="34" charset="0"/>
              <a:ea typeface="+mj-ea"/>
              <a:cs typeface="+mj-cs"/>
              <a:sym typeface="Arial" panose="020B0604020202020204" pitchFamily="34" charset="0"/>
            </a:endParaRPr>
          </a:p>
        </p:txBody>
      </p:sp>
      <p:sp>
        <p:nvSpPr>
          <p:cNvPr id="3" name="Slide Number Placeholder 2"/>
          <p:cNvSpPr>
            <a:spLocks noGrp="1"/>
          </p:cNvSpPr>
          <p:nvPr>
            <p:ph type="sldNum" sz="quarter" idx="4"/>
          </p:nvPr>
        </p:nvSpPr>
        <p:spPr/>
        <p:txBody>
          <a:bodyPr/>
          <a:lstStyle/>
          <a:p>
            <a:fld id="{DB744C55-FBB5-4EC4-A7FE-B77A2493A9E5}" type="slidenum">
              <a:rPr lang="en-US" smtClean="0"/>
              <a:pPr/>
              <a:t>9</a:t>
            </a:fld>
            <a:endParaRPr lang="en-US"/>
          </a:p>
        </p:txBody>
      </p:sp>
      <p:sp>
        <p:nvSpPr>
          <p:cNvPr id="12" name="Title 1">
            <a:extLst>
              <a:ext uri="{FF2B5EF4-FFF2-40B4-BE49-F238E27FC236}">
                <a16:creationId xmlns:a16="http://schemas.microsoft.com/office/drawing/2014/main" id="{8F8AF071-CA62-456A-AF7D-7D60050B9001}"/>
              </a:ext>
            </a:extLst>
          </p:cNvPr>
          <p:cNvSpPr>
            <a:spLocks noGrp="1"/>
          </p:cNvSpPr>
          <p:nvPr>
            <p:ph type="title"/>
          </p:nvPr>
        </p:nvSpPr>
        <p:spPr>
          <a:xfrm>
            <a:off x="258792" y="189780"/>
            <a:ext cx="11598246" cy="1026000"/>
          </a:xfrm>
        </p:spPr>
        <p:txBody>
          <a:bodyPr/>
          <a:lstStyle/>
          <a:p>
            <a:r>
              <a:rPr lang="en-US"/>
              <a:t>EVENT HIGHLIGHTS</a:t>
            </a:r>
          </a:p>
        </p:txBody>
      </p:sp>
      <p:cxnSp>
        <p:nvCxnSpPr>
          <p:cNvPr id="15" name="Straight Connector 14">
            <a:extLst>
              <a:ext uri="{FF2B5EF4-FFF2-40B4-BE49-F238E27FC236}">
                <a16:creationId xmlns:a16="http://schemas.microsoft.com/office/drawing/2014/main" id="{3C64531C-3C3E-4B0D-A4B7-789542CA5B25}"/>
              </a:ext>
            </a:extLst>
          </p:cNvPr>
          <p:cNvCxnSpPr>
            <a:cxnSpLocks/>
          </p:cNvCxnSpPr>
          <p:nvPr/>
        </p:nvCxnSpPr>
        <p:spPr>
          <a:xfrm>
            <a:off x="192532" y="5098099"/>
            <a:ext cx="6685347" cy="0"/>
          </a:xfrm>
          <a:prstGeom prst="line">
            <a:avLst/>
          </a:prstGeom>
          <a:ln w="28575"/>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68A175-D486-4F65-85F8-262746D32720}"/>
              </a:ext>
            </a:extLst>
          </p:cNvPr>
          <p:cNvCxnSpPr>
            <a:cxnSpLocks/>
          </p:cNvCxnSpPr>
          <p:nvPr/>
        </p:nvCxnSpPr>
        <p:spPr>
          <a:xfrm>
            <a:off x="6160982" y="812427"/>
            <a:ext cx="0" cy="5765170"/>
          </a:xfrm>
          <a:prstGeom prst="line">
            <a:avLst/>
          </a:prstGeom>
          <a:ln w="28575"/>
        </p:spPr>
        <p:style>
          <a:lnRef idx="1">
            <a:schemeClr val="accent1"/>
          </a:lnRef>
          <a:fillRef idx="0">
            <a:schemeClr val="accent1"/>
          </a:fillRef>
          <a:effectRef idx="0">
            <a:schemeClr val="accent1"/>
          </a:effectRef>
          <a:fontRef idx="minor">
            <a:schemeClr val="tx1"/>
          </a:fontRef>
        </p:style>
      </p:cxnSp>
      <p:sp>
        <p:nvSpPr>
          <p:cNvPr id="10" name="Rectangle: Folded Corner 42">
            <a:extLst>
              <a:ext uri="{FF2B5EF4-FFF2-40B4-BE49-F238E27FC236}">
                <a16:creationId xmlns:a16="http://schemas.microsoft.com/office/drawing/2014/main" id="{B77A828B-ADC2-4456-B519-DCB7FD02DA3A}"/>
              </a:ext>
            </a:extLst>
          </p:cNvPr>
          <p:cNvSpPr/>
          <p:nvPr/>
        </p:nvSpPr>
        <p:spPr>
          <a:xfrm>
            <a:off x="6601298" y="4033992"/>
            <a:ext cx="4682905" cy="2224567"/>
          </a:xfrm>
          <a:prstGeom prst="foldedCorner">
            <a:avLst/>
          </a:prstGeom>
          <a:solidFill>
            <a:schemeClr val="bg1">
              <a:lumMod val="95000"/>
            </a:schemeClr>
          </a:solidFill>
          <a:ln>
            <a:noFill/>
          </a:ln>
          <a:effectLst/>
        </p:spPr>
        <p:style>
          <a:lnRef idx="2">
            <a:schemeClr val="accent6"/>
          </a:lnRef>
          <a:fillRef idx="1">
            <a:schemeClr val="lt1"/>
          </a:fillRef>
          <a:effectRef idx="0">
            <a:schemeClr val="accent6"/>
          </a:effectRef>
          <a:fontRef idx="minor">
            <a:schemeClr val="dk1"/>
          </a:fontRef>
        </p:style>
        <p:txBody>
          <a:bodyPr lIns="91440" tIns="45720" rIns="91440" bIns="45720" numCol="1" spcCol="180000" rtlCol="0" anchor="t"/>
          <a:lstStyle/>
          <a:p>
            <a:pPr algn="just" fontAlgn="base">
              <a:lnSpc>
                <a:spcPct val="150000"/>
              </a:lnSpc>
            </a:pPr>
            <a:r>
              <a:rPr lang="en-US" sz="1600" dirty="0">
                <a:solidFill>
                  <a:srgbClr val="727073"/>
                </a:solidFill>
                <a:latin typeface="Arial (headings)"/>
              </a:rPr>
              <a:t> ESCO ASTER team had an exciting visit to Vinh </a:t>
            </a:r>
            <a:r>
              <a:rPr lang="en-US" sz="1600" dirty="0" err="1">
                <a:solidFill>
                  <a:srgbClr val="727073"/>
                </a:solidFill>
                <a:latin typeface="Arial (headings)"/>
              </a:rPr>
              <a:t>Hoan’s</a:t>
            </a:r>
            <a:r>
              <a:rPr lang="en-US" sz="1600" dirty="0">
                <a:solidFill>
                  <a:srgbClr val="727073"/>
                </a:solidFill>
                <a:latin typeface="Arial (headings)"/>
              </a:rPr>
              <a:t> farm with Madam Khanh – Founder and Chairwoman, Ms. Hue Ho – Chief Production Officer, and Mr. Vinh Nguyen – Deputy Production Director.</a:t>
            </a:r>
          </a:p>
          <a:p>
            <a:pPr algn="just" fontAlgn="base">
              <a:lnSpc>
                <a:spcPct val="150000"/>
              </a:lnSpc>
            </a:pPr>
            <a:r>
              <a:rPr lang="en-US" sz="1400" i="1" dirty="0">
                <a:solidFill>
                  <a:srgbClr val="727073"/>
                </a:solidFill>
                <a:latin typeface="Arial (headings)"/>
              </a:rPr>
              <a:t>	</a:t>
            </a:r>
            <a:r>
              <a:rPr lang="en-US" sz="1400" i="1">
                <a:solidFill>
                  <a:srgbClr val="727073"/>
                </a:solidFill>
                <a:latin typeface="Arial (headings)"/>
              </a:rPr>
              <a:t>              Apr </a:t>
            </a:r>
            <a:r>
              <a:rPr lang="en-US" sz="1400" i="1" dirty="0">
                <a:solidFill>
                  <a:srgbClr val="727073"/>
                </a:solidFill>
                <a:latin typeface="Arial (headings)"/>
              </a:rPr>
              <a:t>2022, Vietnam</a:t>
            </a:r>
          </a:p>
        </p:txBody>
      </p:sp>
      <p:pic>
        <p:nvPicPr>
          <p:cNvPr id="9" name="Picture 8">
            <a:extLst>
              <a:ext uri="{FF2B5EF4-FFF2-40B4-BE49-F238E27FC236}">
                <a16:creationId xmlns:a16="http://schemas.microsoft.com/office/drawing/2014/main" id="{B603A84E-CFBA-DC2D-26D9-BFD9A4DE46BF}"/>
              </a:ext>
            </a:extLst>
          </p:cNvPr>
          <p:cNvPicPr>
            <a:picLocks noChangeAspect="1"/>
          </p:cNvPicPr>
          <p:nvPr/>
        </p:nvPicPr>
        <p:blipFill>
          <a:blip r:embed="rId8"/>
          <a:stretch>
            <a:fillRect/>
          </a:stretch>
        </p:blipFill>
        <p:spPr>
          <a:xfrm>
            <a:off x="445210" y="825674"/>
            <a:ext cx="5519549" cy="4101662"/>
          </a:xfrm>
          <a:prstGeom prst="rect">
            <a:avLst/>
          </a:prstGeom>
        </p:spPr>
      </p:pic>
    </p:spTree>
    <p:extLst>
      <p:ext uri="{BB962C8B-B14F-4D97-AF65-F5344CB8AC3E}">
        <p14:creationId xmlns:p14="http://schemas.microsoft.com/office/powerpoint/2010/main" val="5932388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7888&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rBQRx2rhSFw8Md7gklk8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BQRx2rhSFw8Md7gklk8j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N9IDWkfBN1e3HxRonVF_b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rBQRx2rhSFw8Md7gklk8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vmYWBRBbrLCTlSb_2V5GA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N9IDWkfBN1e3HxRonVF_b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di767QL.PTn1uw4Ei0.yQ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4.xml><?xml version="1.0" encoding="utf-8"?>
<p:tagLst xmlns:a="http://schemas.openxmlformats.org/drawingml/2006/main" xmlns:r="http://schemas.openxmlformats.org/officeDocument/2006/relationships" xmlns:p="http://schemas.openxmlformats.org/presentationml/2006/main">
  <p:tag name="MM_SLIDE_TYPE" val="6"/>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SNrPGEYFNqzcwMDisK8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p9kqv9Corq_S8OeUfsBoD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FjCD1uqHkAwFyobXLkjXc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rbt65DBN26zDm9kT9z8y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IQbezlzXKyUdEgws.THT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N9IDWkfBN1e3HxRonVF_b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rBQRx2rhSFw8Md7gklk8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BQRx2rhSFw8Md7gklk8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rBQRx2rhSFw8Md7gklk8jw"/>
</p:tagLst>
</file>

<file path=ppt/theme/theme1.xml><?xml version="1.0" encoding="utf-8"?>
<a:theme xmlns:a="http://schemas.openxmlformats.org/drawingml/2006/main" name="Office Theme">
  <a:themeElements>
    <a:clrScheme name="Custom 2">
      <a:dk1>
        <a:srgbClr val="5F5F5F"/>
      </a:dk1>
      <a:lt1>
        <a:srgbClr val="FFFFFF"/>
      </a:lt1>
      <a:dk2>
        <a:srgbClr val="808080"/>
      </a:dk2>
      <a:lt2>
        <a:srgbClr val="FFFFFF"/>
      </a:lt2>
      <a:accent1>
        <a:srgbClr val="0033A0"/>
      </a:accent1>
      <a:accent2>
        <a:srgbClr val="41B6E6"/>
      </a:accent2>
      <a:accent3>
        <a:srgbClr val="6F9CEB"/>
      </a:accent3>
      <a:accent4>
        <a:srgbClr val="727073"/>
      </a:accent4>
      <a:accent5>
        <a:srgbClr val="BEC0CB"/>
      </a:accent5>
      <a:accent6>
        <a:srgbClr val="DEEBF7"/>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9CDC2183258F742B51172656DBF935B" ma:contentTypeVersion="17" ma:contentTypeDescription="Create a new document." ma:contentTypeScope="" ma:versionID="d49448bb4039f11ecb3b86b066540ee2">
  <xsd:schema xmlns:xsd="http://www.w3.org/2001/XMLSchema" xmlns:xs="http://www.w3.org/2001/XMLSchema" xmlns:p="http://schemas.microsoft.com/office/2006/metadata/properties" xmlns:ns2="c33b8bfe-5aeb-44ee-b75f-24df75792e85" xmlns:ns3="52f1b1ec-66cf-405c-a0fc-2ae333924d4e" targetNamespace="http://schemas.microsoft.com/office/2006/metadata/properties" ma:root="true" ma:fieldsID="f2842861580a2250fc44dab4bb2e0187" ns2:_="" ns3:_="">
    <xsd:import namespace="c33b8bfe-5aeb-44ee-b75f-24df75792e85"/>
    <xsd:import namespace="52f1b1ec-66cf-405c-a0fc-2ae333924d4e"/>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3:SharedWithUsers" minOccurs="0"/>
                <xsd:element ref="ns3:SharedWithDetails" minOccurs="0"/>
                <xsd:element ref="ns2:Date" minOccurs="0"/>
                <xsd:element ref="ns2:MediaServiceDateTaken"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33b8bfe-5aeb-44ee-b75f-24df75792e8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Date" ma:index="14" nillable="true" ma:displayName="Date" ma:description="Date" ma:format="DateTime" ma:internalName="Date">
      <xsd:simpleType>
        <xsd:restriction base="dms:DateTime"/>
      </xsd:simpleType>
    </xsd:element>
    <xsd:element name="MediaServiceDateTaken" ma:index="15" nillable="true" ma:displayName="MediaServiceDateTaken" ma:hidden="true" ma:internalName="MediaServiceDateTaken"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MediaServiceLocation" ma:index="21" nillable="true" ma:displayName="Location" ma:internalName="MediaServiceLocation" ma:readOnly="true">
      <xsd:simpleType>
        <xsd:restriction base="dms:Text"/>
      </xsd:simpleType>
    </xsd:element>
    <xsd:element name="lcf76f155ced4ddcb4097134ff3c332f" ma:index="23" nillable="true" ma:taxonomy="true" ma:internalName="lcf76f155ced4ddcb4097134ff3c332f" ma:taxonomyFieldName="MediaServiceImageTags" ma:displayName="Image Tags" ma:readOnly="false" ma:fieldId="{5cf76f15-5ced-4ddc-b409-7134ff3c332f}" ma:taxonomyMulti="true" ma:sspId="04cc81f1-4ecf-4daf-8fd1-d114c01c9818"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2f1b1ec-66cf-405c-a0fc-2ae333924d4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TaxCatchAll" ma:index="24" nillable="true" ma:displayName="Taxonomy Catch All Column" ma:hidden="true" ma:list="{7d4aca3f-ff78-42f3-a372-6f6c5d397991}" ma:internalName="TaxCatchAll" ma:showField="CatchAllData" ma:web="52f1b1ec-66cf-405c-a0fc-2ae333924d4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Date xmlns="c33b8bfe-5aeb-44ee-b75f-24df75792e85" xsi:nil="true"/>
    <TaxCatchAll xmlns="52f1b1ec-66cf-405c-a0fc-2ae333924d4e" xsi:nil="true"/>
    <lcf76f155ced4ddcb4097134ff3c332f xmlns="c33b8bfe-5aeb-44ee-b75f-24df75792e85">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F5192550-F688-41DE-967E-0035D2BF5CF4}">
  <ds:schemaRefs>
    <ds:schemaRef ds:uri="http://schemas.microsoft.com/office/2006/metadata/contentType"/>
    <ds:schemaRef ds:uri="http://schemas.microsoft.com/office/2006/metadata/properties/metaAttributes"/>
    <ds:schemaRef ds:uri="http://www.w3.org/2000/xmlns/"/>
    <ds:schemaRef ds:uri="http://www.w3.org/2001/XMLSchema"/>
    <ds:schemaRef ds:uri="c33b8bfe-5aeb-44ee-b75f-24df75792e85"/>
    <ds:schemaRef ds:uri="52f1b1ec-66cf-405c-a0fc-2ae333924d4e"/>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94DF7F65-D21E-46F3-9F62-53F394FFC7C8}">
  <ds:schemaRefs>
    <ds:schemaRef ds:uri="http://schemas.microsoft.com/sharepoint/v3/contenttype/forms"/>
  </ds:schemaRefs>
</ds:datastoreItem>
</file>

<file path=customXml/itemProps3.xml><?xml version="1.0" encoding="utf-8"?>
<ds:datastoreItem xmlns:ds="http://schemas.openxmlformats.org/officeDocument/2006/customXml" ds:itemID="{9AD829F0-CE5C-4336-995C-EDDE04BD912C}">
  <ds:schemaRefs>
    <ds:schemaRef ds:uri="http://schemas.microsoft.com/office/2006/metadata/properties"/>
    <ds:schemaRef ds:uri="http://www.w3.org/2000/xmlns/"/>
    <ds:schemaRef ds:uri="c33b8bfe-5aeb-44ee-b75f-24df75792e85"/>
    <ds:schemaRef ds:uri="http://www.w3.org/2001/XMLSchema-instance"/>
    <ds:schemaRef ds:uri="52f1b1ec-66cf-405c-a0fc-2ae333924d4e"/>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631</TotalTime>
  <Words>1475</Words>
  <Application>Microsoft Office PowerPoint</Application>
  <PresentationFormat>Widescreen</PresentationFormat>
  <Paragraphs>111</Paragraphs>
  <Slides>15</Slides>
  <Notes>7</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1" baseType="lpstr">
      <vt:lpstr>Arial</vt:lpstr>
      <vt:lpstr>Arial (Body)</vt:lpstr>
      <vt:lpstr>Arial (headings)</vt:lpstr>
      <vt:lpstr>Calibri</vt:lpstr>
      <vt:lpstr>Office Theme</vt:lpstr>
      <vt:lpstr>think-cell Slide</vt:lpstr>
      <vt:lpstr>PowerPoint Presentation</vt:lpstr>
      <vt:lpstr>Cautionary note regarding forward-looking statements</vt:lpstr>
      <vt:lpstr>Table of contents</vt:lpstr>
      <vt:lpstr>PowerPoint Presentation</vt:lpstr>
      <vt:lpstr>APR 2022 Revenue dashboard – Yoy </vt:lpstr>
      <vt:lpstr>APR 2022 Revenue dashboard – MOM</vt:lpstr>
      <vt:lpstr>PowerPoint Presentation</vt:lpstr>
      <vt:lpstr>EVENT HIGHLIGHTS</vt:lpstr>
      <vt:lpstr>EVENT HIGHLIGHTS</vt:lpstr>
      <vt:lpstr>EVENT HIGHLIGHTS</vt:lpstr>
      <vt:lpstr>EVENT HIGHLIGHTS</vt:lpstr>
      <vt:lpstr>EVENT HIGHLIGHTS</vt:lpstr>
      <vt:lpstr>PowerPoint Presentation</vt:lpstr>
      <vt:lpstr>NEWS clipping</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ung. Pham Thanh</dc:creator>
  <cp:lastModifiedBy>Pham Thanh Tung</cp:lastModifiedBy>
  <cp:revision>105</cp:revision>
  <dcterms:created xsi:type="dcterms:W3CDTF">2019-03-16T18:20:24Z</dcterms:created>
  <dcterms:modified xsi:type="dcterms:W3CDTF">2022-05-12T06:38:4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9CDC2183258F742B51172656DBF935B</vt:lpwstr>
  </property>
  <property fmtid="{D5CDD505-2E9C-101B-9397-08002B2CF9AE}" pid="3" name="MediaServiceImageTags">
    <vt:lpwstr/>
  </property>
</Properties>
</file>